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4" r:id="rId4"/>
    <p:sldMasterId id="2147483931" r:id="rId5"/>
  </p:sldMasterIdLst>
  <p:notesMasterIdLst>
    <p:notesMasterId r:id="rId11"/>
  </p:notesMasterIdLst>
  <p:handoutMasterIdLst>
    <p:handoutMasterId r:id="rId12"/>
  </p:handoutMasterIdLst>
  <p:sldIdLst>
    <p:sldId id="4208" r:id="rId6"/>
    <p:sldId id="4240" r:id="rId7"/>
    <p:sldId id="269" r:id="rId8"/>
    <p:sldId id="271" r:id="rId9"/>
    <p:sldId id="272" r:id="rId10"/>
  </p:sldIdLst>
  <p:sldSz cx="12192000" cy="6858000"/>
  <p:notesSz cx="6858000" cy="9144000"/>
  <p:embeddedFontLst>
    <p:embeddedFont>
      <p:font typeface="Gilroy Medium" panose="00000600000000000000" charset="0"/>
      <p:regular r:id="rId13"/>
    </p:embeddedFont>
    <p:embeddedFont>
      <p:font typeface="GT Pressura LCG Black" panose="020B0604020202020204" charset="0"/>
      <p:bold r:id="rId14"/>
    </p:embeddedFont>
    <p:embeddedFont>
      <p:font typeface="Poppins SemiBold" panose="00000700000000000000" pitchFamily="2" charset="0"/>
      <p:bold r:id="rId15"/>
      <p:boldItalic r:id="rId16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" id="{9495D206-4132-4E54-9D0E-8D7CCC139E73}">
          <p14:sldIdLst>
            <p14:sldId id="4208"/>
            <p14:sldId id="4240"/>
            <p14:sldId id="269"/>
            <p14:sldId id="271"/>
            <p14:sldId id="27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913871-DD69-0834-E5D3-07E0AE26C2B1}" name="Romano, Kelly {PEP}" initials="RK{" userId="S::Kelly.Romano@pepsico.com::d149f040-ccb0-4f54-a04e-732116e0ac40" providerId="AD"/>
  <p188:author id="{6B89F973-028C-BFDA-10D1-1F88A841357F}" name="Dominguez, Manuel {PEP}" initials="DM" userId="S::manuel.dominguez@pepsico.com::bbdbb548-75d2-4851-9814-27ae57cc6700" providerId="AD"/>
  <p188:author id="{C64DD88C-2E9A-E3ED-86B5-7D4C0461A7B2}" name="Masella, Elise {PEP}" initials="ME{" userId="S::Elise.Masella@pepsico.com::82f825f7-1737-422f-880c-fad5fcd4cfd4" providerId="AD"/>
  <p188:author id="{E8B662C3-1017-FEDB-6BE5-9BA42082FB23}" name="Guest User" initials="GU" userId="S::urn:spo:tenantanon#25b262c6-3135-4102-9fd1-8cc793b35eee::" providerId="AD"/>
  <p188:author id="{095F5DC6-5918-7F14-0D5A-16F4B2EFE275}" name="Dominguez, Manuel {PEP}" initials="" userId="S::Manuel.Dominguez@pepsico.com::bbdbb548-75d2-4851-9814-27ae57cc670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Ferniz" initials="SF" lastIdx="13" clrIdx="0">
    <p:extLst>
      <p:ext uri="{19B8F6BF-5375-455C-9EA6-DF929625EA0E}">
        <p15:presenceInfo xmlns:p15="http://schemas.microsoft.com/office/powerpoint/2012/main" userId="Sarah Ferni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BD29"/>
    <a:srgbClr val="5D910D"/>
    <a:srgbClr val="8EBC29"/>
    <a:srgbClr val="155798"/>
    <a:srgbClr val="02355A"/>
    <a:srgbClr val="0F440E"/>
    <a:srgbClr val="2B660F"/>
    <a:srgbClr val="0F440D"/>
    <a:srgbClr val="5E910D"/>
    <a:srgbClr val="5C8E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2972FD-784E-413E-AFD8-D5A8BE4C0215}" v="10" dt="2026-01-26T17:51:00.3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225" autoAdjust="0"/>
  </p:normalViewPr>
  <p:slideViewPr>
    <p:cSldViewPr snapToGrid="0">
      <p:cViewPr varScale="1">
        <p:scale>
          <a:sx n="57" d="100"/>
          <a:sy n="57" d="100"/>
        </p:scale>
        <p:origin x="772" y="44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1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3.fntdata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2.fntdata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D55C4-E52F-4810-9BEF-96FA1E00A5BB}" type="datetimeFigureOut">
              <a:rPr lang="en-US" smtClean="0">
                <a:latin typeface="Gilroy Medium" panose="00000600000000000000" pitchFamily="50" charset="0"/>
              </a:rPr>
              <a:t>1/28/2026</a:t>
            </a:fld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B3237-2851-4DC9-9865-7658E90A74CA}" type="slidenum">
              <a:rPr lang="en-US" smtClean="0">
                <a:latin typeface="Gilroy Medium" panose="00000600000000000000" pitchFamily="50" charset="0"/>
              </a:rPr>
              <a:t>‹#›</a:t>
            </a:fld>
            <a:endParaRPr lang="en-US"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47730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619B3CA-2D0D-47C2-ADCA-6F431D6ECA53}" type="datetimeFigureOut">
              <a:rPr lang="en-US" smtClean="0"/>
              <a:pPr/>
              <a:t>1/2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D834DAD-DF98-44E2-A25C-0E8DEB5DEE3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033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834DAD-DF98-44E2-A25C-0E8DEB5DEE3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930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D0A1D-2696-E224-A0D2-459C4E6794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B4A2F1-C992-68C2-FB29-42B241FB5D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402576-A1D0-328F-EA97-EB8F07F2E7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ners for Tomorrow – a suite of sustainability solutions available to value chain partners, notably our customers. The program was named the “sustainability initiative of the year” by Business Intelligence Group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have launched programs with partners in agriculture, we have a number of sources available for our customers and partners to leverage – e.g. the sustainability summit and the sustainability action center and we launched pep+ renew which helps our partners to convert to renewable energy. The two categories of solutions we’re going to focus on today are packaging and recycl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partnersfortomorrow.com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3F1245-070C-962B-44CF-0EC9AE19E0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52802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17A41-0924-42F6-93CC-664B3686E3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129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181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Pre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955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</a:t>
            </a:r>
          </a:p>
        </p:txBody>
      </p:sp>
      <p:pic>
        <p:nvPicPr>
          <p:cNvPr id="21" name="Picture 20" descr="A logo with white text and colorful shapes&#10;&#10;AI-generated content may be incorrect.">
            <a:extLst>
              <a:ext uri="{FF2B5EF4-FFF2-40B4-BE49-F238E27FC236}">
                <a16:creationId xmlns:a16="http://schemas.microsoft.com/office/drawing/2014/main" id="{C1847977-4355-AB64-3E0F-E3B6189E29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1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5D910D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DF5B2C0-2DAF-22FD-0941-C1BABC3CC9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6815E2D-A38A-A593-60AB-494622D2E5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29C9E-C5B3-BE30-C585-F6537223A80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49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89039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ek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1366CA1-4CC7-BF24-ABE7-AEE5361EF3CA}"/>
              </a:ext>
            </a:extLst>
          </p:cNvPr>
          <p:cNvSpPr/>
          <p:nvPr userDrawn="1"/>
        </p:nvSpPr>
        <p:spPr>
          <a:xfrm>
            <a:off x="3047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882350-35F7-F137-A300-3154BB5E34FA}"/>
              </a:ext>
            </a:extLst>
          </p:cNvPr>
          <p:cNvSpPr/>
          <p:nvPr userDrawn="1"/>
        </p:nvSpPr>
        <p:spPr>
          <a:xfrm>
            <a:off x="32765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30C34CE-E743-C5CE-0566-A6348A458DCB}"/>
              </a:ext>
            </a:extLst>
          </p:cNvPr>
          <p:cNvSpPr/>
          <p:nvPr userDrawn="1"/>
        </p:nvSpPr>
        <p:spPr>
          <a:xfrm>
            <a:off x="62483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D9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8D99EF-EB86-548C-11F3-0BEFFAB42FFD}"/>
              </a:ext>
            </a:extLst>
          </p:cNvPr>
          <p:cNvSpPr/>
          <p:nvPr userDrawn="1"/>
        </p:nvSpPr>
        <p:spPr>
          <a:xfrm>
            <a:off x="9207753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F3872A-5020-9E81-994E-3B78940FFA84}"/>
              </a:ext>
            </a:extLst>
          </p:cNvPr>
          <p:cNvSpPr/>
          <p:nvPr userDrawn="1"/>
        </p:nvSpPr>
        <p:spPr>
          <a:xfrm>
            <a:off x="17906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D08363-7BDE-1994-9A0F-8B8835C9D39B}"/>
              </a:ext>
            </a:extLst>
          </p:cNvPr>
          <p:cNvSpPr/>
          <p:nvPr userDrawn="1"/>
        </p:nvSpPr>
        <p:spPr>
          <a:xfrm>
            <a:off x="4762496" y="3828105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14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8DE32D-DAC0-28AA-F629-6530651BAC1C}"/>
              </a:ext>
            </a:extLst>
          </p:cNvPr>
          <p:cNvSpPr/>
          <p:nvPr userDrawn="1"/>
        </p:nvSpPr>
        <p:spPr>
          <a:xfrm>
            <a:off x="77342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E0FB13C-B3D3-CC89-8B22-4D3DC55EDD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336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5823ED-48FE-341A-AB02-4ADE49610B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7336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B28C6E4-D43D-4AAD-AA6C-BD9885E32F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1764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BF7D7BD-778A-4E3E-D4B4-013993C4A8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31764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BA7AF2-63E2-9747-5CF2-6EE0AFC33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5681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2E02903-004F-C3F0-21E5-8C7F3FC5BC1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395681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316079D-17AC-A4EE-5AF4-ABD7EE1435B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2738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A73F0F4-6102-FBB6-F8BD-E76801D5BE4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72738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8CBEB1-C473-BA68-682F-E25666C73B2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50075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C9E0F917-776A-5630-408D-AE759278995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50075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1C6F05D-EDC3-09AE-0D3B-824642A38F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15037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B2FA8DC-9809-2D57-EDF3-4E92723CBC1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915037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BE6E11F-D789-FD72-BCD1-6D4D6CDEB7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79999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1E8815AD-159B-3574-EEB3-46C5894350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879999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4992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/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6"/>
            <a:ext cx="3634250" cy="364180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247FAE-F3BC-A7B3-E9DB-100FEF39B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8117" y="0"/>
            <a:ext cx="7303883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A5B9A31-47DC-482D-ABBA-D2E3E87CF5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800" y="7248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3C471A95-A226-5D96-1264-63E47463E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800" y="2106461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A2D0DDB-D0DD-0619-593D-81C91863F7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800" y="34823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DB128B8D-4433-B2D3-8692-380FB8447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800" y="4806292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07E4918-859A-C015-91FC-7468161E3D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7248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58279B1-5F88-9920-6B86-FF48038CE1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106461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0E99209E-3FB0-B917-35E1-04FED0526B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4823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02189042-D8A9-0154-C2F2-0B0CED24A6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4806292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685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5"/>
            <a:ext cx="5900605" cy="365125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3624408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1F92D-6FE9-8836-F453-891297070CFB}"/>
              </a:ext>
            </a:extLst>
          </p:cNvPr>
          <p:cNvGrpSpPr/>
          <p:nvPr userDrawn="1"/>
        </p:nvGrpSpPr>
        <p:grpSpPr>
          <a:xfrm>
            <a:off x="6074697" y="1219200"/>
            <a:ext cx="5782355" cy="4373770"/>
            <a:chOff x="1549047" y="1642531"/>
            <a:chExt cx="5782355" cy="437377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317D88F-96E7-4AD7-BD83-7A22337F8FFC}"/>
                </a:ext>
              </a:extLst>
            </p:cNvPr>
            <p:cNvSpPr/>
            <p:nvPr/>
          </p:nvSpPr>
          <p:spPr>
            <a:xfrm>
              <a:off x="1679751" y="1775876"/>
              <a:ext cx="5511450" cy="4098849"/>
            </a:xfrm>
            <a:prstGeom prst="roundRect">
              <a:avLst>
                <a:gd name="adj" fmla="val 3589"/>
              </a:avLst>
            </a:prstGeom>
            <a:solidFill>
              <a:srgbClr val="8DBE28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0" name="Straight Connector 29">
              <a:extLst>
                <a:ext uri="{FF2B5EF4-FFF2-40B4-BE49-F238E27FC236}">
                  <a16:creationId xmlns:a16="http://schemas.microsoft.com/office/drawing/2014/main" id="{145318AE-6408-4053-8034-1E9D1CAEE9FD}"/>
                </a:ext>
              </a:extLst>
            </p:cNvPr>
            <p:cNvSpPr/>
            <p:nvPr/>
          </p:nvSpPr>
          <p:spPr>
            <a:xfrm>
              <a:off x="4465935" y="1712631"/>
              <a:ext cx="0" cy="4208827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3" name="Straight Connector 32">
              <a:extLst>
                <a:ext uri="{FF2B5EF4-FFF2-40B4-BE49-F238E27FC236}">
                  <a16:creationId xmlns:a16="http://schemas.microsoft.com/office/drawing/2014/main" id="{00A0533C-44E6-4F69-86FF-781C7ABC43CF}"/>
                </a:ext>
              </a:extLst>
            </p:cNvPr>
            <p:cNvSpPr/>
            <p:nvPr/>
          </p:nvSpPr>
          <p:spPr>
            <a:xfrm flipH="1">
              <a:off x="1619147" y="3825301"/>
              <a:ext cx="5572054" cy="0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1C9B0DB-F070-4AA7-B572-F133C208612B}"/>
                </a:ext>
              </a:extLst>
            </p:cNvPr>
            <p:cNvSpPr/>
            <p:nvPr/>
          </p:nvSpPr>
          <p:spPr>
            <a:xfrm>
              <a:off x="4384305" y="1642531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0"/>
                  </a:moveTo>
                  <a:lnTo>
                    <a:pt x="0" y="226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529EF-0A17-43D4-A9BD-2D0E4264C893}"/>
                </a:ext>
              </a:extLst>
            </p:cNvPr>
            <p:cNvSpPr/>
            <p:nvPr/>
          </p:nvSpPr>
          <p:spPr>
            <a:xfrm>
              <a:off x="7191201" y="3744296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226" y="130"/>
                  </a:moveTo>
                  <a:lnTo>
                    <a:pt x="0" y="0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725938-EC3E-44B4-9EB5-41DD24B79310}"/>
                </a:ext>
              </a:extLst>
            </p:cNvPr>
            <p:cNvSpPr/>
            <p:nvPr/>
          </p:nvSpPr>
          <p:spPr>
            <a:xfrm>
              <a:off x="4384305" y="5876100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226"/>
                  </a:move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2C6845F-090B-40B0-A362-7A15965D38E0}"/>
                </a:ext>
              </a:extLst>
            </p:cNvPr>
            <p:cNvSpPr/>
            <p:nvPr/>
          </p:nvSpPr>
          <p:spPr>
            <a:xfrm>
              <a:off x="1549047" y="3759251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0" y="130"/>
                  </a:moveTo>
                  <a:lnTo>
                    <a:pt x="226" y="261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4EDABC-D71B-7C1F-8A30-770BAE0FC7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76182" y="5768854"/>
            <a:ext cx="456988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39B2A47-934D-5374-A0F4-C07FE9977E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3754620" y="3223456"/>
            <a:ext cx="410694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91AD4326-F4E9-9C47-2DA9-4993909B6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401" y="1635778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1810209-D8A6-FD38-26E5-67C424E5E7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91272" y="1635778"/>
            <a:ext cx="272558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F83BD9B-E629-9B75-7C70-7525AED611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540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E116D7F-5F53-06D7-CE87-23C28CF9057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9127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C12A7B-9EF8-AEDF-2575-EA5DA7BEF6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6267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4B65FD40-169F-F326-47E8-1432DD48D5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1824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FA2F5BF-753D-6582-5F26-C36630AB82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267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8D063A49-5C1A-306D-511F-8662285612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824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6915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635876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7" y="5768975"/>
            <a:ext cx="6358762" cy="365125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635876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516158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CCA079-F015-9D0B-435B-8B533B1E528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967728" y="248594"/>
            <a:ext cx="4919472" cy="58855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4786562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77A123-21DA-40CE-B431-92CC45964013}"/>
              </a:ext>
            </a:extLst>
          </p:cNvPr>
          <p:cNvSpPr/>
          <p:nvPr userDrawn="1"/>
        </p:nvSpPr>
        <p:spPr>
          <a:xfrm>
            <a:off x="304796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D910D"/>
              </a:solidFill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41FAAD-7AC8-731A-123A-BE82562493F6}"/>
              </a:ext>
            </a:extLst>
          </p:cNvPr>
          <p:cNvSpPr/>
          <p:nvPr userDrawn="1"/>
        </p:nvSpPr>
        <p:spPr>
          <a:xfrm>
            <a:off x="304796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AC9BC4-68A6-9698-3277-84C08E3A4FE3}"/>
              </a:ext>
            </a:extLst>
          </p:cNvPr>
          <p:cNvSpPr/>
          <p:nvPr userDrawn="1"/>
        </p:nvSpPr>
        <p:spPr>
          <a:xfrm>
            <a:off x="304796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BE099A-50C1-905E-4C39-DB7B4D4FBE6B}"/>
              </a:ext>
            </a:extLst>
          </p:cNvPr>
          <p:cNvSpPr/>
          <p:nvPr userDrawn="1"/>
        </p:nvSpPr>
        <p:spPr>
          <a:xfrm>
            <a:off x="6548624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4FBEE3E-9113-6772-A9D0-E842B248D267}"/>
              </a:ext>
            </a:extLst>
          </p:cNvPr>
          <p:cNvSpPr/>
          <p:nvPr userDrawn="1"/>
        </p:nvSpPr>
        <p:spPr>
          <a:xfrm>
            <a:off x="6548624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F44D307-3B59-B3A7-B673-5E599BB053D3}"/>
              </a:ext>
            </a:extLst>
          </p:cNvPr>
          <p:cNvSpPr/>
          <p:nvPr userDrawn="1"/>
        </p:nvSpPr>
        <p:spPr>
          <a:xfrm>
            <a:off x="6548624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E352DA-FF04-36BF-CDB8-9D168B369D23}"/>
              </a:ext>
            </a:extLst>
          </p:cNvPr>
          <p:cNvCxnSpPr/>
          <p:nvPr userDrawn="1"/>
        </p:nvCxnSpPr>
        <p:spPr>
          <a:xfrm>
            <a:off x="5822731" y="2144110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08CA50-6DC2-DB93-2A7F-967901CC7BFC}"/>
              </a:ext>
            </a:extLst>
          </p:cNvPr>
          <p:cNvCxnSpPr>
            <a:cxnSpLocks/>
          </p:cNvCxnSpPr>
          <p:nvPr userDrawn="1"/>
        </p:nvCxnSpPr>
        <p:spPr>
          <a:xfrm>
            <a:off x="5822731" y="3676648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5482F3-BE7A-6063-3F74-E7CFE37C5D68}"/>
              </a:ext>
            </a:extLst>
          </p:cNvPr>
          <p:cNvCxnSpPr>
            <a:cxnSpLocks/>
          </p:cNvCxnSpPr>
          <p:nvPr userDrawn="1"/>
        </p:nvCxnSpPr>
        <p:spPr>
          <a:xfrm>
            <a:off x="5822731" y="5183186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61755C0-BE8F-2307-55C1-F1CF08EC24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9E63985-202E-44C4-FEF8-9D09D8A725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438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4A33675-CF40-5496-4117-515D5D08F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438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CA7CEAA-CD1C-AE53-D999-47F849F9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6621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57D78F3C-11F0-1F5A-39DD-CA19C0DCE5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26621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7DD4C1D-1F57-6816-8675-584DA58C24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6621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15942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7" name="Table Placeholder 86">
            <a:extLst>
              <a:ext uri="{FF2B5EF4-FFF2-40B4-BE49-F238E27FC236}">
                <a16:creationId xmlns:a16="http://schemas.microsoft.com/office/drawing/2014/main" id="{1158F129-D433-505A-834D-F1C3765D3DB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04800" y="1219200"/>
            <a:ext cx="11582400" cy="43815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0518659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907908-FD27-6EBB-EF57-3A8A63BEA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1142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36">
            <a:extLst>
              <a:ext uri="{FF2B5EF4-FFF2-40B4-BE49-F238E27FC236}">
                <a16:creationId xmlns:a16="http://schemas.microsoft.com/office/drawing/2014/main" id="{1F8816AA-0C4B-5FCB-874A-6B1A61B8F2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16024" y="1661854"/>
            <a:ext cx="1137122" cy="1139753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6">
            <a:extLst>
              <a:ext uri="{FF2B5EF4-FFF2-40B4-BE49-F238E27FC236}">
                <a16:creationId xmlns:a16="http://schemas.microsoft.com/office/drawing/2014/main" id="{605A5A87-0D4E-520E-B859-0E375CDF52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73364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6">
            <a:extLst>
              <a:ext uri="{FF2B5EF4-FFF2-40B4-BE49-F238E27FC236}">
                <a16:creationId xmlns:a16="http://schemas.microsoft.com/office/drawing/2014/main" id="{093DCEF5-69FD-9757-09A8-261C134734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27438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A5520BD3-FC13-0F18-FBD0-1F903A2423D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781512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6">
            <a:extLst>
              <a:ext uri="{FF2B5EF4-FFF2-40B4-BE49-F238E27FC236}">
                <a16:creationId xmlns:a16="http://schemas.microsoft.com/office/drawing/2014/main" id="{7E748CC5-F80E-F45D-8C3A-966D944F43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42120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31D2E60-3E17-7047-42B5-498FEE3EB36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9740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1">
            <a:extLst>
              <a:ext uri="{FF2B5EF4-FFF2-40B4-BE49-F238E27FC236}">
                <a16:creationId xmlns:a16="http://schemas.microsoft.com/office/drawing/2014/main" id="{FD48FB29-192A-57E7-6DEA-AB4C616761F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1154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2864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  <a:noFill/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5D910D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ED9F0A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EE6C26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04D2EB8-360F-1512-645B-A1B5AE954F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59740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2B660F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2716F3F-8545-C3AD-DE74-223356DA57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71154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3476C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D9F75A-F491-F816-6076-836525B860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688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A7E14FC-7151-E0BE-7AFD-D2E2D62E77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9740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5E48B52-9006-142D-7F0F-E7718BFCB96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11201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1B992765-5469-81A6-394B-1D35C789F82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6690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4C86F0EB-4936-76A8-9E93-08E6C3DDDF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22617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ED9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824D7A2-0A2F-B7D0-A97A-A422D087D5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20843" y="3119438"/>
            <a:ext cx="2045441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8669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chemeClr val="accent5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A42F8D-FD45-1020-AE77-8199A0C7654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719D273-2584-873C-0535-6C85EA591315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577CC8-E137-F371-4009-884CF36161C4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CAC497-AF23-588E-91F9-154DE741A891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BEA982-B3FB-D392-3292-2CA950BD90F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6EBD14B-3DDF-E332-200E-E7308C2C1AE0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0B773D-90CF-5739-25AD-7F426773B3F3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D92367-2C65-6CBC-746B-98FEA4E55E5A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90E16E-CE31-49A7-461B-D7A0B24E83A2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1C10AC1-0A43-8631-16CD-7764F1C7857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43EA04E-7926-0CA3-309A-E149CA3360E5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0F44EE-08C7-80E6-562B-899667C69CFD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A233AD-D8F8-1A88-D470-F569F2A1D8FC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70B00F3-F0B6-5650-606A-C84EE3FFD33A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DE820D6-2006-4CDA-7018-0C4035E266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7D2BBE-9F1F-FCFD-9C6A-89EDE2831FFD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2570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70">
            <a:extLst>
              <a:ext uri="{FF2B5EF4-FFF2-40B4-BE49-F238E27FC236}">
                <a16:creationId xmlns:a16="http://schemas.microsoft.com/office/drawing/2014/main" id="{D5EE4931-6768-D7C6-B027-6E2083949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67053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E6D2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5" name="Freeform 70">
            <a:extLst>
              <a:ext uri="{FF2B5EF4-FFF2-40B4-BE49-F238E27FC236}">
                <a16:creationId xmlns:a16="http://schemas.microsoft.com/office/drawing/2014/main" id="{5C7026B2-F8D8-FAB2-1088-B31F96540B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50804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3477C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4" name="Freeform 70">
            <a:extLst>
              <a:ext uri="{FF2B5EF4-FFF2-40B4-BE49-F238E27FC236}">
                <a16:creationId xmlns:a16="http://schemas.microsoft.com/office/drawing/2014/main" id="{5186F264-49D3-4090-823A-02893CD72C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31250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D9F0A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 70">
            <a:extLst>
              <a:ext uri="{FF2B5EF4-FFF2-40B4-BE49-F238E27FC236}">
                <a16:creationId xmlns:a16="http://schemas.microsoft.com/office/drawing/2014/main" id="{AC3006C4-BF8C-8B98-57E0-4C75052BF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7636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5D910D"/>
          </a:solidFill>
          <a:ln>
            <a:solidFill>
              <a:srgbClr val="EC9F0B"/>
            </a:solidFill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C4BDBAB-14DB-197F-8EA1-A4026CDC5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263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C3DFAD5D-F262-E524-900F-B81C0FA82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48324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8F99D252-4EB7-03DB-8C58-53B69DD87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9251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2DE66A0-1FC8-776D-2462-D49E64DC1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01852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36">
            <a:extLst>
              <a:ext uri="{FF2B5EF4-FFF2-40B4-BE49-F238E27FC236}">
                <a16:creationId xmlns:a16="http://schemas.microsoft.com/office/drawing/2014/main" id="{D08A5CBB-3497-CA70-D127-FA55FDAC51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49240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29B0CE01-1AEF-7DC2-5A09-00BFA065DFED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6282073" y="-2841222"/>
            <a:ext cx="12700" cy="9049417"/>
          </a:xfrm>
          <a:prstGeom prst="bentConnector3">
            <a:avLst>
              <a:gd name="adj1" fmla="val 1800000"/>
            </a:avLst>
          </a:prstGeom>
          <a:ln w="22225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58BB28F-B3C4-241F-51D9-6B9A6C5D832E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6294244" y="1124443"/>
            <a:ext cx="12700" cy="9049417"/>
          </a:xfrm>
          <a:prstGeom prst="bentConnector3">
            <a:avLst>
              <a:gd name="adj1" fmla="val 2769236"/>
            </a:avLst>
          </a:prstGeom>
          <a:ln w="22225" cap="rnd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36">
            <a:extLst>
              <a:ext uri="{FF2B5EF4-FFF2-40B4-BE49-F238E27FC236}">
                <a16:creationId xmlns:a16="http://schemas.microsoft.com/office/drawing/2014/main" id="{9713158F-8810-66D4-768E-CBBC238CE34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6784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6">
            <a:extLst>
              <a:ext uri="{FF2B5EF4-FFF2-40B4-BE49-F238E27FC236}">
                <a16:creationId xmlns:a16="http://schemas.microsoft.com/office/drawing/2014/main" id="{2396E205-D7EC-5B8B-C662-D776223185C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5736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6">
            <a:extLst>
              <a:ext uri="{FF2B5EF4-FFF2-40B4-BE49-F238E27FC236}">
                <a16:creationId xmlns:a16="http://schemas.microsoft.com/office/drawing/2014/main" id="{292F6024-F61C-4204-37DB-DAD42342B0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43280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8BF3F9C-F0C7-4109-DB00-AF74113D61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98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5D910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37CBEA-5986-8685-64C5-183A3630D1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95452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ED9F0A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75EE09-9833-7B6A-B2A7-B69759074A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20006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3476C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7D74A55F-30E7-13F2-182C-700DAD28F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30492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EE6C26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C5FE2C-6563-2395-ECAC-48A9F9F30DCE}"/>
              </a:ext>
            </a:extLst>
          </p:cNvPr>
          <p:cNvSpPr txBox="1"/>
          <p:nvPr userDrawn="1"/>
        </p:nvSpPr>
        <p:spPr>
          <a:xfrm>
            <a:off x="766119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1863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+ Copy - Dr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8" name="Chart Placeholder 10">
            <a:extLst>
              <a:ext uri="{FF2B5EF4-FFF2-40B4-BE49-F238E27FC236}">
                <a16:creationId xmlns:a16="http://schemas.microsoft.com/office/drawing/2014/main" id="{36135DED-36D8-99A2-BEEE-C339F63E6A0A}"/>
              </a:ext>
            </a:extLst>
          </p:cNvPr>
          <p:cNvSpPr>
            <a:spLocks noGrp="1"/>
          </p:cNvSpPr>
          <p:nvPr>
            <p:ph type="chart" sz="quarter" idx="49"/>
          </p:nvPr>
        </p:nvSpPr>
        <p:spPr>
          <a:xfrm>
            <a:off x="304796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C648F1-B735-FA9C-BE4E-ED579776AE4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4800" y="4419601"/>
            <a:ext cx="3657584" cy="1349374"/>
          </a:xfrm>
          <a:solidFill>
            <a:srgbClr val="5D910D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91085A7-EBBF-EF8B-5149-D4D78AF6BD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267186" y="4419601"/>
            <a:ext cx="3657613" cy="1349374"/>
          </a:xfrm>
          <a:solidFill>
            <a:srgbClr val="5D910D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CF2C88-E784-B887-29C6-C86ABDAE698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229600" y="4419601"/>
            <a:ext cx="3657595" cy="1349374"/>
          </a:xfrm>
          <a:solidFill>
            <a:srgbClr val="5D910D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26CFC927-54B7-C5B7-E60C-38D6EE901D32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4258242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10">
            <a:extLst>
              <a:ext uri="{FF2B5EF4-FFF2-40B4-BE49-F238E27FC236}">
                <a16:creationId xmlns:a16="http://schemas.microsoft.com/office/drawing/2014/main" id="{E65CED6F-0B77-30C6-E22C-B8883C7FCB67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29600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CAB205B-7C1F-D7A8-3195-63BC12963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B2AD6C-5A9B-8507-463D-FF555734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9265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026F0-9A71-4943-65F5-E58B0C965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4C1C78-E80E-CE37-55BF-58BA7EFEC2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F3F8FA-B30E-7AC5-CF2D-2A2C4C6FC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137B60-E4D6-4FD2-452F-AD9D3FECC74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2030FF7A-E0AE-C652-5648-E29D08381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C63A6B7-9DBF-037C-DD66-D4DBFC1C28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C4DBECC-B53C-2396-C7B9-9A2426CCBF9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F238CD9-CBB1-200B-EEB7-AFFDC9E7C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AC83664-26A4-BA40-BB5D-4F5C9AF474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035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83D448A-6F6D-AC3B-84E0-08CFA264E6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BB5861-B329-94C3-77C3-73ACFD6B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0783CDD-F837-985F-76FF-3AB1E77A7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7ACC2D7-BA04-CC20-035A-4772F0350B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F31268-C508-3A95-9A32-51868208C0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FE2062E-A5C1-AAEA-E6C1-24379AAE2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D994C4-6938-6D1F-0427-0B49992B19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B57E41C-690C-87FE-F584-1CE0ECBACC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951E57E-B01C-4174-8B55-EE0BDDF568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B75A417-2475-713F-DF45-707F7C024F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2464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242FB5-CA88-5E19-554B-3FD70267B21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0F440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DC08E4-2FCD-7E6B-9E00-26ABFC93A4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847AB5-08EA-07FD-0B81-21C938719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70F598-C502-C221-1607-85AB67ABC5F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8770D10-DB1B-82BC-4773-84D65D9AB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3018F0D-82E2-3CE3-117E-EA35207570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6D03C6E-A2E1-A64B-59C5-392BB03CC1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5D910D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5D910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5D910D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5D910D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5D910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B86542C-5E5D-6CE9-9E99-34153337B8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114FD4-D5F5-3D03-6669-3F48F8814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92F1AEB-8046-A2D4-30CA-7197BC53E8B3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6CD31BC9-DEED-705E-596F-90F3784F50F8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A59ABE3-4718-4CF9-913B-381023AB3DF7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A0F92C-6587-9C26-0375-0E086FC9C6AA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84095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0638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8BBB28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</a:p>
          <a:p>
            <a:pPr lvl="0"/>
            <a:r>
              <a:rPr lang="en-US" dirty="0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1pPr>
            <a:lvl2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28369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481551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buClr>
                <a:srgbClr val="2B660F"/>
              </a:buClr>
              <a:defRPr sz="1400">
                <a:solidFill>
                  <a:srgbClr val="2B660F"/>
                </a:solidFill>
                <a:latin typeface="+mn-lt"/>
              </a:defRPr>
            </a:lvl1pPr>
            <a:lvl2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2pPr>
            <a:lvl3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3pPr>
            <a:lvl4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4pPr>
            <a:lvl5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93136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5177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43991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D493E6C-673E-8ADB-07B5-8A9A583E28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0E534B-1328-9573-C510-DF01837DD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B745233-8242-6501-BDD1-6A066F19F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9716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DF40BA9-9DA8-1704-98B3-11192E6394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71AAEC-79CE-8340-6FC6-574C7C43A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060F503-A312-5007-5FB9-D49F373B4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2AA78E-5B79-F7E2-9960-5B1CF56F07B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106663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69740"/>
            <a:ext cx="5187687" cy="400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800" y="5768975"/>
            <a:ext cx="518769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0"/>
            <a:ext cx="5187691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 sz="12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3EA97-DEBE-C07E-0A6E-2C52FBDC8BF2}"/>
              </a:ext>
            </a:extLst>
          </p:cNvPr>
          <p:cNvSpPr/>
          <p:nvPr userDrawn="1"/>
        </p:nvSpPr>
        <p:spPr>
          <a:xfrm>
            <a:off x="6095998" y="0"/>
            <a:ext cx="6095999" cy="6858000"/>
          </a:xfrm>
          <a:prstGeom prst="rect">
            <a:avLst/>
          </a:prstGeom>
          <a:solidFill>
            <a:srgbClr val="8BBB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DE32CAC8-7CBB-93A4-FE78-B76DE7A0515E}"/>
              </a:ext>
            </a:extLst>
          </p:cNvPr>
          <p:cNvSpPr txBox="1">
            <a:spLocks/>
          </p:cNvSpPr>
          <p:nvPr userDrawn="1"/>
        </p:nvSpPr>
        <p:spPr>
          <a:xfrm>
            <a:off x="6400797" y="5768975"/>
            <a:ext cx="5486405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DCEEA0-CC92-ADFC-3AE4-D23CA6710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794" y="1219200"/>
            <a:ext cx="5187689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200">
                <a:solidFill>
                  <a:schemeClr val="bg1"/>
                </a:solidFill>
                <a:latin typeface="+mn-lt"/>
              </a:defRPr>
            </a:lvl4pPr>
            <a:lvl5pP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riangle 22">
            <a:extLst>
              <a:ext uri="{FF2B5EF4-FFF2-40B4-BE49-F238E27FC236}">
                <a16:creationId xmlns:a16="http://schemas.microsoft.com/office/drawing/2014/main" id="{F30ADE9A-4C5E-2D90-A385-B666A1B8DB8E}"/>
              </a:ext>
            </a:extLst>
          </p:cNvPr>
          <p:cNvSpPr/>
          <p:nvPr userDrawn="1"/>
        </p:nvSpPr>
        <p:spPr>
          <a:xfrm rot="5400000">
            <a:off x="5670305" y="3257223"/>
            <a:ext cx="851390" cy="376122"/>
          </a:xfrm>
          <a:prstGeom prst="triangle">
            <a:avLst>
              <a:gd name="adj" fmla="val 50766"/>
            </a:avLst>
          </a:prstGeom>
          <a:solidFill>
            <a:srgbClr val="2B660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FF21BC3-6CCA-C456-3B0A-6B16ED2F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794" y="199945"/>
            <a:ext cx="5187690" cy="429397"/>
          </a:xfrm>
        </p:spPr>
        <p:txBody>
          <a:bodyPr/>
          <a:lstStyle>
            <a:lvl1pPr>
              <a:defRPr lang="en-US" sz="3200" b="1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261DA-335E-CD8E-DD2C-DA8B5FFADE6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61569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F52B395-E324-C350-A724-74D5490A0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1DA6A-7A47-6758-B9D8-70914456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670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rgbClr val="2B660F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1843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DBE87-4405-F3CD-9E1A-0AB2F0FA1A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688" y="1219200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rgbClr val="8DBE28"/>
                </a:solidFill>
                <a:latin typeface="+mn-lt"/>
              </a:defRPr>
            </a:lvl2pPr>
          </a:lstStyle>
          <a:p>
            <a:pPr lvl="1"/>
            <a:r>
              <a:rPr lang="en-US" dirty="0"/>
              <a:t>#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280F5E-74CC-98D2-7A49-093D2CF6B2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688" y="2574888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rgbClr val="8DBE28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5DAA2E-1A7B-0209-4979-AE7C94A036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1688" y="3930576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rgbClr val="8DBE28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D78311-4CC6-636F-837D-EEA883F21D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338" y="1219200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B441E31-BF1D-AA0C-C5FB-DF20E29DB5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1338" y="2574888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78DB37-E4D6-9295-325E-6FFD2BE7F7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1338" y="3930576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5447B70-0D32-5005-C25E-A71D7563D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8E49524-CA80-7F34-D4E5-CC7E4BC5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0712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74AD4FF-798E-DDD9-414C-962521CD9A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028C9D-C44D-C775-287E-01E9AE906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6764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48399" y="248594"/>
            <a:ext cx="5638802" cy="53902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7B98CD-AC1E-E6C0-C7B4-1B8FD18FCA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56388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D8C6F-44C5-DAF3-23C9-0323B4C1B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48594"/>
            <a:ext cx="5638800" cy="475306"/>
          </a:xfrm>
        </p:spPr>
        <p:txBody>
          <a:bodyPr anchor="t" anchorCtr="0"/>
          <a:lstStyle/>
          <a:p>
            <a:r>
              <a:rPr lang="en-US" dirty="0"/>
              <a:t>Click to title</a:t>
            </a:r>
          </a:p>
        </p:txBody>
      </p:sp>
    </p:spTree>
    <p:extLst>
      <p:ext uri="{BB962C8B-B14F-4D97-AF65-F5344CB8AC3E}">
        <p14:creationId xmlns:p14="http://schemas.microsoft.com/office/powerpoint/2010/main" val="22861295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7751" y="1219200"/>
            <a:ext cx="5489449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00B4BC49-B99B-1177-E500-12757729D6F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800" y="1219200"/>
            <a:ext cx="5489448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5204B2-C25E-54D8-44CC-ABA38DAF6914}"/>
              </a:ext>
            </a:extLst>
          </p:cNvPr>
          <p:cNvCxnSpPr/>
          <p:nvPr userDrawn="1"/>
        </p:nvCxnSpPr>
        <p:spPr>
          <a:xfrm>
            <a:off x="6096000" y="1219200"/>
            <a:ext cx="0" cy="441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3BB8363-5EEA-956C-441D-06AAB0B85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115824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373C31-DBB3-2208-A521-999FF953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1158240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0779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24" name="Picture Placeholder 50">
            <a:extLst>
              <a:ext uri="{FF2B5EF4-FFF2-40B4-BE49-F238E27FC236}">
                <a16:creationId xmlns:a16="http://schemas.microsoft.com/office/drawing/2014/main" id="{E1158365-DD41-790A-BEFB-4191AF8CA27A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 flipH="1">
            <a:off x="301752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50">
            <a:extLst>
              <a:ext uri="{FF2B5EF4-FFF2-40B4-BE49-F238E27FC236}">
                <a16:creationId xmlns:a16="http://schemas.microsoft.com/office/drawing/2014/main" id="{648A33B1-F67C-635E-1912-D01AEF232C52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 flipH="1">
            <a:off x="4222376" y="3529321"/>
            <a:ext cx="3769455" cy="259057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0">
            <a:extLst>
              <a:ext uri="{FF2B5EF4-FFF2-40B4-BE49-F238E27FC236}">
                <a16:creationId xmlns:a16="http://schemas.microsoft.com/office/drawing/2014/main" id="{9477BE40-9125-CCF0-D9F2-A29731F77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 flipH="1">
            <a:off x="4209606" y="701964"/>
            <a:ext cx="3769455" cy="257068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0">
            <a:extLst>
              <a:ext uri="{FF2B5EF4-FFF2-40B4-BE49-F238E27FC236}">
                <a16:creationId xmlns:a16="http://schemas.microsoft.com/office/drawing/2014/main" id="{56FCF207-0EA6-4BF7-0A42-068E64A0C6F5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 flipH="1">
            <a:off x="8283374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BEF2E3-ABE2-A4E6-B1FD-D8E2470217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3739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or Divider - Sustainability">
    <p:bg>
      <p:bgPr>
        <a:solidFill>
          <a:srgbClr val="8DBE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597993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04800" y="1219200"/>
            <a:ext cx="11582401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DFE36E9-714D-992A-9553-63C3133B38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3F7F31-4B83-C3E8-EB1D-FD6C87B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0209D7-6DFF-EA72-22D5-4A6A9B48CED9}"/>
              </a:ext>
            </a:extLst>
          </p:cNvPr>
          <p:cNvSpPr txBox="1"/>
          <p:nvPr userDrawn="1"/>
        </p:nvSpPr>
        <p:spPr>
          <a:xfrm>
            <a:off x="11738919" y="654908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3386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BFDE7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2235FC-2BFF-D2F6-B24B-8A0CB7A0369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54811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18517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akeaways Dr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484860-B7C8-63CB-6C1D-22A50F99ACF6}"/>
              </a:ext>
            </a:extLst>
          </p:cNvPr>
          <p:cNvSpPr txBox="1"/>
          <p:nvPr userDrawn="1"/>
        </p:nvSpPr>
        <p:spPr>
          <a:xfrm>
            <a:off x="963827" y="65614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1480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2B886-E61E-7BB4-B0DD-DC2FF24EAF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91826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Takeaways Drink">
    <p:bg>
      <p:bgPr>
        <a:solidFill>
          <a:srgbClr val="FB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60B6A-192B-3529-D749-1EF72AE9094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58924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FCBFFC2-1D04-EF48-A388-95DB2B2160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D484A-938C-B017-C04F-A83D0A57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9819057-E5D7-F5B5-80B8-9D7ACF1BA5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D7C8C64-7DA7-695D-77FD-154A30364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28AFB-3CA6-BE65-81A7-B0D1C091938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1907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0AA3F9-21A5-E27D-8950-EB829485AA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9C0A931-72BC-0356-B06E-B975330614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9207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52EE75-7A55-5193-C356-31AD2386985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99215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D29EE-A3C0-3200-A5BC-DB78A9C5B0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4A8199-D7C3-8C1A-9917-6F4FFF77C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6CBAC9C-3270-8C3D-55F7-B20DEA5AB3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45DEAD8-0715-5FF7-F4B8-BBD1F23C74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7025DC-7B04-F2E8-D156-8564266B8B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D77FFD-F9B9-3CCA-A145-F23B5D2C2FA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5866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4800" y="1219201"/>
            <a:ext cx="11582400" cy="4419600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  <a:lvl2pPr>
              <a:defRPr>
                <a:solidFill>
                  <a:srgbClr val="2B660F"/>
                </a:solidFill>
                <a:latin typeface="+mn-lt"/>
              </a:defRPr>
            </a:lvl2pPr>
            <a:lvl3pPr>
              <a:defRPr sz="1400">
                <a:solidFill>
                  <a:srgbClr val="2B660F"/>
                </a:solidFill>
                <a:latin typeface="+mn-lt"/>
              </a:defRPr>
            </a:lvl3pPr>
            <a:lvl4pPr>
              <a:defRPr sz="1400">
                <a:solidFill>
                  <a:srgbClr val="2B660F"/>
                </a:solidFill>
                <a:latin typeface="+mn-lt"/>
              </a:defRPr>
            </a:lvl4pPr>
            <a:lvl5pPr>
              <a:defRPr sz="1400"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28285-F5AC-8A3D-6643-900F6667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5E28AC-C348-EE03-938F-68D9895D527D}"/>
              </a:ext>
            </a:extLst>
          </p:cNvPr>
          <p:cNvSpPr txBox="1"/>
          <p:nvPr userDrawn="1"/>
        </p:nvSpPr>
        <p:spPr>
          <a:xfrm>
            <a:off x="815009" y="65797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0E1989-DA1C-8B6E-AF70-60EC5F03F119}"/>
              </a:ext>
            </a:extLst>
          </p:cNvPr>
          <p:cNvSpPr txBox="1"/>
          <p:nvPr userDrawn="1"/>
        </p:nvSpPr>
        <p:spPr>
          <a:xfrm>
            <a:off x="1013254" y="65737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636BFF-E815-D157-BC2F-F84CD7E08D02}"/>
              </a:ext>
            </a:extLst>
          </p:cNvPr>
          <p:cNvSpPr txBox="1"/>
          <p:nvPr userDrawn="1"/>
        </p:nvSpPr>
        <p:spPr>
          <a:xfrm>
            <a:off x="630195" y="65367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9984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67106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D43D8-0728-76B9-5BEC-721CBA413DB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2637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42EAE78A-A977-01CA-A116-2B9E201DFA70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B81C1A-BF3A-436C-E104-9E52FC208E4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7359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ement-Sustainability">
    <p:bg>
      <p:bgPr>
        <a:solidFill>
          <a:srgbClr val="CA4A0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22F11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22F11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249486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00592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082" y="301308"/>
            <a:ext cx="4094480" cy="1852055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81066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019705-392E-1513-A73C-8B73FBF443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8399" y="304801"/>
            <a:ext cx="5638801" cy="5829300"/>
          </a:xfrm>
          <a:prstGeom prst="roundRect">
            <a:avLst>
              <a:gd name="adj" fmla="val 2768"/>
            </a:avLst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19200"/>
            <a:ext cx="5638799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3379788"/>
            <a:ext cx="5638800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2B660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7CE26B-FE56-D52E-D936-DE13DCDBD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29076"/>
            <a:ext cx="5638799" cy="2109258"/>
          </a:xfrm>
        </p:spPr>
        <p:txBody>
          <a:bodyPr/>
          <a:lstStyle>
            <a:lvl1pPr>
              <a:defRPr sz="1600">
                <a:solidFill>
                  <a:srgbClr val="2B660F"/>
                </a:solidFill>
                <a:latin typeface="+mn-lt"/>
              </a:defRPr>
            </a:lvl1pPr>
            <a:lvl2pPr>
              <a:defRPr sz="1400">
                <a:solidFill>
                  <a:srgbClr val="2B660F"/>
                </a:solidFill>
                <a:latin typeface="+mn-lt"/>
              </a:defRPr>
            </a:lvl2pPr>
            <a:lvl3pPr>
              <a:defRPr sz="1200">
                <a:solidFill>
                  <a:srgbClr val="2B660F"/>
                </a:solidFill>
                <a:latin typeface="+mn-lt"/>
              </a:defRPr>
            </a:lvl3pPr>
            <a:lvl4pPr>
              <a:defRPr sz="1100">
                <a:solidFill>
                  <a:srgbClr val="2B660F"/>
                </a:solidFill>
                <a:latin typeface="+mn-lt"/>
              </a:defRPr>
            </a:lvl4pPr>
            <a:lvl5pPr>
              <a:defRPr sz="1050"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24375-C552-8786-CB9F-47605F8904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16942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6431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8578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8537"/>
          <a:stretch>
            <a:fillRect/>
          </a:stretch>
        </p:blipFill>
        <p:spPr>
          <a:xfrm>
            <a:off x="92332" y="362758"/>
            <a:ext cx="1612900" cy="97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304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112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0F440D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DDDE28-076A-30B3-3A87-D22CCDE42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2303132-93C3-B58B-51CF-9C0FED7206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498078"/>
            <a:ext cx="658705" cy="748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F7EF99-1424-2925-FC60-5D8A1725D73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630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Drink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2355A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F30E4F8F-C6C8-F57D-0CDA-4E4AE1731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3342" b="34504"/>
          <a:stretch>
            <a:fillRect/>
          </a:stretch>
        </p:blipFill>
        <p:spPr>
          <a:xfrm>
            <a:off x="8536804" y="535326"/>
            <a:ext cx="3655196" cy="6286381"/>
          </a:xfrm>
          <a:custGeom>
            <a:avLst/>
            <a:gdLst>
              <a:gd name="connsiteX0" fmla="*/ 0 w 3655196"/>
              <a:gd name="connsiteY0" fmla="*/ 0 h 6286381"/>
              <a:gd name="connsiteX1" fmla="*/ 3655196 w 3655196"/>
              <a:gd name="connsiteY1" fmla="*/ 0 h 6286381"/>
              <a:gd name="connsiteX2" fmla="*/ 3655196 w 3655196"/>
              <a:gd name="connsiteY2" fmla="*/ 6286381 h 6286381"/>
              <a:gd name="connsiteX3" fmla="*/ 0 w 3655196"/>
              <a:gd name="connsiteY3" fmla="*/ 6286381 h 628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5196" h="6286381">
                <a:moveTo>
                  <a:pt x="0" y="0"/>
                </a:moveTo>
                <a:lnTo>
                  <a:pt x="3655196" y="0"/>
                </a:lnTo>
                <a:lnTo>
                  <a:pt x="3655196" y="6286381"/>
                </a:lnTo>
                <a:lnTo>
                  <a:pt x="0" y="6286381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48BC-7DFB-3A37-F824-E7E7F7C1D8D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5605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796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262262-1774-13E8-18F1-4C24C4D04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2472" b="15247"/>
          <a:stretch>
            <a:fillRect/>
          </a:stretch>
        </p:blipFill>
        <p:spPr>
          <a:xfrm>
            <a:off x="7746460" y="406558"/>
            <a:ext cx="4445540" cy="6451443"/>
          </a:xfrm>
          <a:custGeom>
            <a:avLst/>
            <a:gdLst>
              <a:gd name="connsiteX0" fmla="*/ 0 w 4445540"/>
              <a:gd name="connsiteY0" fmla="*/ 0 h 6451443"/>
              <a:gd name="connsiteX1" fmla="*/ 4445540 w 4445540"/>
              <a:gd name="connsiteY1" fmla="*/ 0 h 6451443"/>
              <a:gd name="connsiteX2" fmla="*/ 4445540 w 4445540"/>
              <a:gd name="connsiteY2" fmla="*/ 6451443 h 6451443"/>
              <a:gd name="connsiteX3" fmla="*/ 0 w 4445540"/>
              <a:gd name="connsiteY3" fmla="*/ 6451443 h 64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540" h="6451443">
                <a:moveTo>
                  <a:pt x="0" y="0"/>
                </a:moveTo>
                <a:lnTo>
                  <a:pt x="4445540" y="0"/>
                </a:lnTo>
                <a:lnTo>
                  <a:pt x="4445540" y="6451443"/>
                </a:lnTo>
                <a:lnTo>
                  <a:pt x="0" y="6451443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64CEC-D9C3-D330-8F47-628A92E9ABC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42400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9C7D38-9FF8-6C4D-A76D-C1D44972A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3016"/>
          <a:stretch>
            <a:fillRect/>
          </a:stretch>
        </p:blipFill>
        <p:spPr>
          <a:xfrm>
            <a:off x="7388774" y="512064"/>
            <a:ext cx="5035836" cy="6345936"/>
          </a:xfrm>
          <a:custGeom>
            <a:avLst/>
            <a:gdLst>
              <a:gd name="connsiteX0" fmla="*/ 0 w 5035836"/>
              <a:gd name="connsiteY0" fmla="*/ 0 h 6345936"/>
              <a:gd name="connsiteX1" fmla="*/ 5035836 w 5035836"/>
              <a:gd name="connsiteY1" fmla="*/ 0 h 6345936"/>
              <a:gd name="connsiteX2" fmla="*/ 5035836 w 5035836"/>
              <a:gd name="connsiteY2" fmla="*/ 880638 h 6345936"/>
              <a:gd name="connsiteX3" fmla="*/ 4803226 w 5035836"/>
              <a:gd name="connsiteY3" fmla="*/ 880638 h 6345936"/>
              <a:gd name="connsiteX4" fmla="*/ 4803226 w 5035836"/>
              <a:gd name="connsiteY4" fmla="*/ 6345936 h 6345936"/>
              <a:gd name="connsiteX5" fmla="*/ 0 w 5035836"/>
              <a:gd name="connsiteY5" fmla="*/ 6345936 h 634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5836" h="6345936">
                <a:moveTo>
                  <a:pt x="0" y="0"/>
                </a:moveTo>
                <a:lnTo>
                  <a:pt x="5035836" y="0"/>
                </a:lnTo>
                <a:lnTo>
                  <a:pt x="5035836" y="880638"/>
                </a:lnTo>
                <a:lnTo>
                  <a:pt x="4803226" y="880638"/>
                </a:lnTo>
                <a:lnTo>
                  <a:pt x="4803226" y="6345936"/>
                </a:lnTo>
                <a:lnTo>
                  <a:pt x="0" y="6345936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E0A995-3A03-E488-2DE7-FB5CBF54FC2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1709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3680CE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Gilroy Medium" panose="00000600000000000000" pitchFamily="50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83AE73-A754-7B0F-0503-8F9A15D171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28" t="5197" r="60034" b="16119"/>
          <a:stretch/>
        </p:blipFill>
        <p:spPr>
          <a:xfrm>
            <a:off x="0" y="0"/>
            <a:ext cx="4610101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0A2BE27-19D4-21C5-0677-A4371A5B178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7491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FE8701-18AC-1DDE-6FDB-A1B213C27C8A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519" t="4942" r="54239" b="11734"/>
          <a:stretch/>
        </p:blipFill>
        <p:spPr>
          <a:xfrm>
            <a:off x="0" y="0"/>
            <a:ext cx="58022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F8AFE4-9B9D-6946-8A8B-332A60BDCD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39988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Sustainability"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Gilroy Medium" panose="00000600000000000000" pitchFamily="50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4DFCD31-76F7-5A4A-C08E-4435C05FD665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02" r="42975" b="9499"/>
          <a:stretch/>
        </p:blipFill>
        <p:spPr>
          <a:xfrm>
            <a:off x="0" y="-710334"/>
            <a:ext cx="7505700" cy="7568334"/>
          </a:xfrm>
          <a:custGeom>
            <a:avLst/>
            <a:gdLst>
              <a:gd name="connsiteX0" fmla="*/ 0 w 7505700"/>
              <a:gd name="connsiteY0" fmla="*/ 0 h 7568334"/>
              <a:gd name="connsiteX1" fmla="*/ 7505700 w 7505700"/>
              <a:gd name="connsiteY1" fmla="*/ 0 h 7568334"/>
              <a:gd name="connsiteX2" fmla="*/ 7505700 w 7505700"/>
              <a:gd name="connsiteY2" fmla="*/ 7568334 h 7568334"/>
              <a:gd name="connsiteX3" fmla="*/ 0 w 7505700"/>
              <a:gd name="connsiteY3" fmla="*/ 7568334 h 7568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05700" h="7568334">
                <a:moveTo>
                  <a:pt x="0" y="0"/>
                </a:moveTo>
                <a:lnTo>
                  <a:pt x="7505700" y="0"/>
                </a:lnTo>
                <a:lnTo>
                  <a:pt x="7505700" y="7568334"/>
                </a:lnTo>
                <a:lnTo>
                  <a:pt x="0" y="7568334"/>
                </a:lnTo>
                <a:close/>
              </a:path>
            </a:pathLst>
          </a:cu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C3E1F1-2E92-1648-74E7-AA42DA16A5B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97344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BFDE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2B660F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 dirty="0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 dirty="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170853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F5283D-7852-B68B-630F-C31B84D50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389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F5283D-7852-B68B-630F-C31B84D50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04477DA-D9A2-C10A-D38B-113AA2EAB8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369" t="3331" r="3369" b="3369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60107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235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2803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800" y="3888828"/>
            <a:ext cx="3657600" cy="174521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4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FCA3879-DB25-6606-BE61-7468DA06E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E6C5A6-EDAC-314F-5AE5-956433135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FB600BF-AFD2-4AD7-7C7D-AB04EDAF7D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60848-68E6-C17F-C22D-EA1FF5F4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50">
            <a:extLst>
              <a:ext uri="{FF2B5EF4-FFF2-40B4-BE49-F238E27FC236}">
                <a16:creationId xmlns:a16="http://schemas.microsoft.com/office/drawing/2014/main" id="{A479D373-550A-277C-9E29-4763D6EF3203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4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50">
            <a:extLst>
              <a:ext uri="{FF2B5EF4-FFF2-40B4-BE49-F238E27FC236}">
                <a16:creationId xmlns:a16="http://schemas.microsoft.com/office/drawing/2014/main" id="{E3D0CA9A-9DCA-285D-5947-D27336FE76BA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 flipH="1">
            <a:off x="42672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0">
            <a:extLst>
              <a:ext uri="{FF2B5EF4-FFF2-40B4-BE49-F238E27FC236}">
                <a16:creationId xmlns:a16="http://schemas.microsoft.com/office/drawing/2014/main" id="{E04B5877-BF81-42FF-F396-FA19ECC3ECD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 flipH="1">
            <a:off x="82296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747996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4" name="Picture 23" descr="A logo with white text and colorful leaves&#10;&#10;AI-generated content may be incorrect.">
            <a:extLst>
              <a:ext uri="{FF2B5EF4-FFF2-40B4-BE49-F238E27FC236}">
                <a16:creationId xmlns:a16="http://schemas.microsoft.com/office/drawing/2014/main" id="{D5CC85D4-ADB6-A385-EEFA-BCC1AE373A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3311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v2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3096672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_Blank-Blue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9BFA2-9768-37EC-5656-D5310FB6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3918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-DarkBlue">
    <p:bg>
      <p:bgPr>
        <a:solidFill>
          <a:srgbClr val="135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A4C8EB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A4C8EB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A4C8EB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AE10007-65EE-3DC5-D278-0C9D7E3A3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4542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DBEDD-48E1-F0BC-E1F5-56C1CFDC6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6488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F3051-143D-99BA-E445-C800F2389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35B6BC-B286-4CDC-591D-D4401E79134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9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2E7F8E-04D4-A56A-1BCE-393E662B38E0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8336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E9C008-B438-8A37-A449-C266396B3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43F584-DFE9-52B6-FCD7-BAD0737D45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0103614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277C6F-2854-1D7B-4CB4-78D6270A6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D9A1E6-E1AA-7EC1-8287-49071D7C3BF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57274582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D46315-B0B3-1EC1-FDC0-6BDAD184C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CAC1FA-5FEE-2B48-80F3-D73F1BCE406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8917796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796153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-3829" y="4004441"/>
            <a:ext cx="12195829" cy="2853560"/>
          </a:xfrm>
          <a:prstGeom prst="rect">
            <a:avLst/>
          </a:prstGeom>
          <a:solidFill>
            <a:srgbClr val="3680CE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56FAC1-BD3B-4A39-AEB8-8B734D184E9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65761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A13F1-F363-9D8B-763B-FF6DB8061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E22E13-77AC-E425-8E7B-59FA7E5166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9550861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67EB93E-9E09-2CDA-076E-EDCAD081B3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7502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AD2125-5374-13E1-F795-AC82A9236A1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541036-711C-D15D-D98A-A3898870B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28059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3B0304-F7B9-A020-6563-16CB86C1EF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9786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FFD073-596B-C966-AD2B-94EB41D06CE4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C8BD11-B504-A733-1D48-48A168A10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392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CDFB88-1BF6-658B-090A-FA594F13B6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12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D42475-506B-7A75-E736-9BDE0E6C0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8078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7B7BF6-CD50-1B4E-0BFC-3EF954589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7970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32" y="362758"/>
            <a:ext cx="1612900" cy="13712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717875-20D0-C6F7-D1D7-E08E085476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5415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FE4383-3308-AECA-BC92-908820AE4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3835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EC9F0B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F1A0E6E-809F-CAB8-ADF7-401A2493B1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937293B6-CB6D-C378-7EF0-4F4D7D0854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223AB-CFD2-1D96-874F-CF2C8B3589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320381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B49EEA-D01D-3940-FE7A-2DCFA1445B13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3303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image" Target="../media/image21.emf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A73341-108A-4DC8-92A2-2CA590BB402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47FD04F-64FC-CE14-7E6C-AC14EBA406E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3BED3BD-7FCF-DDCD-7ABE-D40D23D188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A59D2D-963F-FC5F-76F8-2685A84DE18E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42FEF-4DE3-0DBB-DA93-5532D44E467D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513F617-5F5B-ACD6-9D53-086EA767038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425CA8-7AB3-EA99-FD7E-62D4B1311CFB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9C748B-6306-7E6F-B15A-87C022F79C3B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5ACB2F7-8C1F-6661-CECE-A51272A62D67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832C14-1818-744E-59F5-7E196A22A1E4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7986FF-9B19-6DB4-4EFF-7DE6E971E1F0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2DE6B9-5479-9F85-19C4-80BEEF56256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F9160E-19C5-F0F9-C653-3E1B8C79F1B8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18EDCB-350A-2B73-D4BF-0A47360A524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16AC3D-AE68-5D97-B0D7-72F51120ECB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89396-46DC-4E35-49EE-CF1F6C7A7E09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F93C799-4C4D-A437-E150-353C52FA92FE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692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56" r:id="rId2"/>
    <p:sldLayoutId id="2147483865" r:id="rId3"/>
    <p:sldLayoutId id="2147483928" r:id="rId4"/>
    <p:sldLayoutId id="2147483825" r:id="rId5"/>
    <p:sldLayoutId id="2147483831" r:id="rId6"/>
    <p:sldLayoutId id="2147483845" r:id="rId7"/>
    <p:sldLayoutId id="2147483848" r:id="rId8"/>
    <p:sldLayoutId id="2147483857" r:id="rId9"/>
    <p:sldLayoutId id="2147483866" r:id="rId10"/>
    <p:sldLayoutId id="2147483828" r:id="rId11"/>
    <p:sldLayoutId id="2147483922" r:id="rId12"/>
    <p:sldLayoutId id="2147483921" r:id="rId13"/>
    <p:sldLayoutId id="2147483919" r:id="rId14"/>
    <p:sldLayoutId id="2147483920" r:id="rId15"/>
    <p:sldLayoutId id="2147483918" r:id="rId16"/>
    <p:sldLayoutId id="2147483915" r:id="rId17"/>
    <p:sldLayoutId id="2147483916" r:id="rId18"/>
    <p:sldLayoutId id="2147483917" r:id="rId19"/>
    <p:sldLayoutId id="2147483913" r:id="rId20"/>
    <p:sldLayoutId id="2147483855" r:id="rId21"/>
    <p:sldLayoutId id="2147483852" r:id="rId22"/>
    <p:sldLayoutId id="2147483875" r:id="rId23"/>
    <p:sldLayoutId id="2147483853" r:id="rId24"/>
    <p:sldLayoutId id="2147483874" r:id="rId25"/>
    <p:sldLayoutId id="2147483885" r:id="rId26"/>
    <p:sldLayoutId id="2147483927" r:id="rId27"/>
    <p:sldLayoutId id="2147483903" r:id="rId28"/>
    <p:sldLayoutId id="2147483847" r:id="rId29"/>
    <p:sldLayoutId id="2147483861" r:id="rId30"/>
    <p:sldLayoutId id="2147483870" r:id="rId31"/>
    <p:sldLayoutId id="2147483854" r:id="rId32"/>
    <p:sldLayoutId id="2147483826" r:id="rId33"/>
    <p:sldLayoutId id="2147483836" r:id="rId34"/>
    <p:sldLayoutId id="2147483837" r:id="rId35"/>
    <p:sldLayoutId id="2147483835" r:id="rId36"/>
    <p:sldLayoutId id="2147483842" r:id="rId37"/>
    <p:sldLayoutId id="2147483849" r:id="rId38"/>
    <p:sldLayoutId id="2147483888" r:id="rId39"/>
    <p:sldLayoutId id="2147483843" r:id="rId40"/>
    <p:sldLayoutId id="2147483905" r:id="rId41"/>
    <p:sldLayoutId id="2147483887" r:id="rId42"/>
    <p:sldLayoutId id="2147483904" r:id="rId43"/>
    <p:sldLayoutId id="2147483889" r:id="rId44"/>
    <p:sldLayoutId id="2147483890" r:id="rId45"/>
    <p:sldLayoutId id="2147483868" r:id="rId46"/>
    <p:sldLayoutId id="2147483886" r:id="rId47"/>
    <p:sldLayoutId id="2147483892" r:id="rId48"/>
    <p:sldLayoutId id="2147483893" r:id="rId49"/>
    <p:sldLayoutId id="2147483894" r:id="rId50"/>
    <p:sldLayoutId id="2147483846" r:id="rId51"/>
    <p:sldLayoutId id="2147483895" r:id="rId52"/>
    <p:sldLayoutId id="2147483925" r:id="rId53"/>
    <p:sldLayoutId id="2147483896" r:id="rId54"/>
    <p:sldLayoutId id="2147483900" r:id="rId55"/>
    <p:sldLayoutId id="2147483838" r:id="rId56"/>
    <p:sldLayoutId id="2147483840" r:id="rId57"/>
    <p:sldLayoutId id="2147483872" r:id="rId58"/>
    <p:sldLayoutId id="2147483926" r:id="rId59"/>
    <p:sldLayoutId id="2147483873" r:id="rId60"/>
    <p:sldLayoutId id="2147483906" r:id="rId61"/>
    <p:sldLayoutId id="2147483907" r:id="rId62"/>
    <p:sldLayoutId id="2147483908" r:id="rId63"/>
    <p:sldLayoutId id="2147483841" r:id="rId64"/>
    <p:sldLayoutId id="2147483858" r:id="rId65"/>
    <p:sldLayoutId id="2147483867" r:id="rId66"/>
    <p:sldLayoutId id="2147483834" r:id="rId67"/>
    <p:sldLayoutId id="2147483929" r:id="rId68"/>
    <p:sldLayoutId id="2147483930" r:id="rId6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rgbClr val="5D910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rgbClr val="2B660F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•"/>
        <a:defRPr sz="1400" kern="1200">
          <a:solidFill>
            <a:srgbClr val="2B660F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–"/>
        <a:defRPr sz="1200" kern="1200">
          <a:solidFill>
            <a:srgbClr val="2B660F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•"/>
        <a:defRPr sz="1100" kern="1200">
          <a:solidFill>
            <a:srgbClr val="2B660F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–"/>
        <a:defRPr sz="1050" kern="1200">
          <a:solidFill>
            <a:srgbClr val="2B660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orient="horz" pos="76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C6CA2EA-CEAF-84F7-5EDC-790C0A043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2404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" imgH="381" progId="TCLayout.ActiveDocument.1">
                  <p:embed/>
                </p:oleObj>
              </mc:Choice>
              <mc:Fallback>
                <p:oleObj name="think-cell Slide" r:id="rId24" imgW="381" imgH="38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CA2EA-CEAF-84F7-5EDC-790C0A043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883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hyperlink" Target="https://www.partnersfortomorrow.com/" TargetMode="External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4.xml"/><Relationship Id="rId6" Type="http://schemas.openxmlformats.org/officeDocument/2006/relationships/image" Target="../media/image35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5.xml"/><Relationship Id="rId6" Type="http://schemas.openxmlformats.org/officeDocument/2006/relationships/image" Target="../media/image37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41.png"/><Relationship Id="rId7" Type="http://schemas.openxmlformats.org/officeDocument/2006/relationships/hyperlink" Target="mailto:catherine.walton@pepsico.com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1.png"/><Relationship Id="rId5" Type="http://schemas.openxmlformats.org/officeDocument/2006/relationships/hyperlink" Target="mailto:shanna.parra@pepsico.com" TargetMode="Externa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2390412-0B6D-4865-A33D-03368FF7FEC0}"/>
              </a:ext>
            </a:extLst>
          </p:cNvPr>
          <p:cNvSpPr/>
          <p:nvPr/>
        </p:nvSpPr>
        <p:spPr>
          <a:xfrm>
            <a:off x="7392168" y="5151141"/>
            <a:ext cx="4806868" cy="1706860"/>
          </a:xfrm>
          <a:prstGeom prst="rect">
            <a:avLst/>
          </a:prstGeom>
          <a:solidFill>
            <a:srgbClr val="5E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2B339D-25C6-6803-EEA8-F7AB37452598}"/>
              </a:ext>
            </a:extLst>
          </p:cNvPr>
          <p:cNvSpPr/>
          <p:nvPr/>
        </p:nvSpPr>
        <p:spPr>
          <a:xfrm>
            <a:off x="7392168" y="3460396"/>
            <a:ext cx="4809453" cy="1706861"/>
          </a:xfrm>
          <a:prstGeom prst="rect">
            <a:avLst/>
          </a:prstGeom>
          <a:solidFill>
            <a:srgbClr val="8EBC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3E2F8B-8C17-B2F0-2FB0-412B6CFC571C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Gilroy Medium" panose="00000600000000000000" pitchFamily="50" charset="0"/>
              </a:rPr>
              <a:pPr algn="r"/>
              <a:t>1</a:t>
            </a:fld>
            <a:endParaRPr lang="en-US" sz="1350" dirty="0">
              <a:solidFill>
                <a:schemeClr val="bg1"/>
              </a:solidFill>
              <a:latin typeface="Gilroy Medium" panose="00000600000000000000" pitchFamily="50" charset="0"/>
            </a:endParaRPr>
          </a:p>
        </p:txBody>
      </p:sp>
      <p:pic>
        <p:nvPicPr>
          <p:cNvPr id="22" name="Picture 21" descr="A logo with white text and colorful shapes&#10;&#10;Description automatically generated with medium confidence">
            <a:extLst>
              <a:ext uri="{FF2B5EF4-FFF2-40B4-BE49-F238E27FC236}">
                <a16:creationId xmlns:a16="http://schemas.microsoft.com/office/drawing/2014/main" id="{37055F7F-798B-44AD-89EA-AB50374600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16" y="80457"/>
            <a:ext cx="2041456" cy="1148319"/>
          </a:xfrm>
          <a:prstGeom prst="rect">
            <a:avLst/>
          </a:prstGeom>
        </p:spPr>
      </p:pic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79E59AE6-7E70-E2BE-33B9-35BB90C6357F}"/>
              </a:ext>
            </a:extLst>
          </p:cNvPr>
          <p:cNvSpPr txBox="1">
            <a:spLocks/>
          </p:cNvSpPr>
          <p:nvPr/>
        </p:nvSpPr>
        <p:spPr>
          <a:xfrm>
            <a:off x="304795" y="2119650"/>
            <a:ext cx="10218825" cy="2140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7200" dirty="0">
                <a:solidFill>
                  <a:srgbClr val="5D910D"/>
                </a:solidFill>
                <a:latin typeface="+mj-lt"/>
              </a:rPr>
              <a:t>WHAT IS </a:t>
            </a:r>
            <a:r>
              <a:rPr lang="en-US" sz="7200" dirty="0">
                <a:solidFill>
                  <a:srgbClr val="8DBD29"/>
                </a:solidFill>
                <a:latin typeface="+mj-lt"/>
              </a:rPr>
              <a:t>PARTNERS FOR TOMORROW?</a:t>
            </a:r>
          </a:p>
          <a:p>
            <a:r>
              <a:rPr lang="en-US" sz="2200" dirty="0">
                <a:solidFill>
                  <a:srgbClr val="BFDF7D"/>
                </a:solidFill>
              </a:rPr>
              <a:t>A Portfolio of Advantaged</a:t>
            </a:r>
            <a:br>
              <a:rPr lang="en-US" sz="2200" dirty="0">
                <a:solidFill>
                  <a:srgbClr val="BFDF7D"/>
                </a:solidFill>
              </a:rPr>
            </a:br>
            <a:r>
              <a:rPr lang="en-US" sz="2200" dirty="0">
                <a:solidFill>
                  <a:srgbClr val="BFDF7D"/>
                </a:solidFill>
              </a:rPr>
              <a:t>Sustainability Solutions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64B7BFB-7F4F-93CE-E89B-980C4FC3CE8B}"/>
              </a:ext>
            </a:extLst>
          </p:cNvPr>
          <p:cNvGrpSpPr/>
          <p:nvPr/>
        </p:nvGrpSpPr>
        <p:grpSpPr>
          <a:xfrm>
            <a:off x="7922215" y="5568101"/>
            <a:ext cx="3746774" cy="1157085"/>
            <a:chOff x="262093" y="4644618"/>
            <a:chExt cx="3452601" cy="1157085"/>
          </a:xfrm>
        </p:grpSpPr>
        <p:sp>
          <p:nvSpPr>
            <p:cNvPr id="27" name="Text Placeholder 8">
              <a:extLst>
                <a:ext uri="{FF2B5EF4-FFF2-40B4-BE49-F238E27FC236}">
                  <a16:creationId xmlns:a16="http://schemas.microsoft.com/office/drawing/2014/main" id="{C57C6B80-3877-BCAF-4661-A7290CEEB3BB}"/>
                </a:ext>
              </a:extLst>
            </p:cNvPr>
            <p:cNvSpPr txBox="1">
              <a:spLocks/>
            </p:cNvSpPr>
            <p:nvPr/>
          </p:nvSpPr>
          <p:spPr>
            <a:xfrm>
              <a:off x="740482" y="4974532"/>
              <a:ext cx="2974212" cy="827171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288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36576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54864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2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05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dirty="0">
                  <a:solidFill>
                    <a:schemeClr val="accent4"/>
                  </a:solidFill>
                </a:rPr>
                <a:t>Mutually beneficial for our customers and PepsiCo</a:t>
              </a:r>
            </a:p>
          </p:txBody>
        </p:sp>
        <p:sp>
          <p:nvSpPr>
            <p:cNvPr id="10" name="Graphic 15">
              <a:extLst>
                <a:ext uri="{FF2B5EF4-FFF2-40B4-BE49-F238E27FC236}">
                  <a16:creationId xmlns:a16="http://schemas.microsoft.com/office/drawing/2014/main" id="{96AC564F-EE55-E7FD-E106-CFC4C6C9ED60}"/>
                </a:ext>
              </a:extLst>
            </p:cNvPr>
            <p:cNvSpPr/>
            <p:nvPr/>
          </p:nvSpPr>
          <p:spPr>
            <a:xfrm>
              <a:off x="262093" y="4644618"/>
              <a:ext cx="408351" cy="408351"/>
            </a:xfrm>
            <a:custGeom>
              <a:avLst/>
              <a:gdLst>
                <a:gd name="connsiteX0" fmla="*/ 1147763 w 1905000"/>
                <a:gd name="connsiteY0" fmla="*/ 0 h 1905000"/>
                <a:gd name="connsiteX1" fmla="*/ 1200150 w 1905000"/>
                <a:gd name="connsiteY1" fmla="*/ 52388 h 1905000"/>
                <a:gd name="connsiteX2" fmla="*/ 1200150 w 1905000"/>
                <a:gd name="connsiteY2" fmla="*/ 681038 h 1905000"/>
                <a:gd name="connsiteX3" fmla="*/ 1223963 w 1905000"/>
                <a:gd name="connsiteY3" fmla="*/ 704850 h 1905000"/>
                <a:gd name="connsiteX4" fmla="*/ 1852613 w 1905000"/>
                <a:gd name="connsiteY4" fmla="*/ 704850 h 1905000"/>
                <a:gd name="connsiteX5" fmla="*/ 1905000 w 1905000"/>
                <a:gd name="connsiteY5" fmla="*/ 757238 h 1905000"/>
                <a:gd name="connsiteX6" fmla="*/ 1905000 w 1905000"/>
                <a:gd name="connsiteY6" fmla="*/ 1147763 h 1905000"/>
                <a:gd name="connsiteX7" fmla="*/ 1852613 w 1905000"/>
                <a:gd name="connsiteY7" fmla="*/ 1200150 h 1905000"/>
                <a:gd name="connsiteX8" fmla="*/ 1223963 w 1905000"/>
                <a:gd name="connsiteY8" fmla="*/ 1200150 h 1905000"/>
                <a:gd name="connsiteX9" fmla="*/ 1200150 w 1905000"/>
                <a:gd name="connsiteY9" fmla="*/ 1223963 h 1905000"/>
                <a:gd name="connsiteX10" fmla="*/ 1200150 w 1905000"/>
                <a:gd name="connsiteY10" fmla="*/ 1852613 h 1905000"/>
                <a:gd name="connsiteX11" fmla="*/ 1147763 w 1905000"/>
                <a:gd name="connsiteY11" fmla="*/ 1905000 h 1905000"/>
                <a:gd name="connsiteX12" fmla="*/ 757238 w 1905000"/>
                <a:gd name="connsiteY12" fmla="*/ 1905000 h 1905000"/>
                <a:gd name="connsiteX13" fmla="*/ 704850 w 1905000"/>
                <a:gd name="connsiteY13" fmla="*/ 1852613 h 1905000"/>
                <a:gd name="connsiteX14" fmla="*/ 704850 w 1905000"/>
                <a:gd name="connsiteY14" fmla="*/ 1223963 h 1905000"/>
                <a:gd name="connsiteX15" fmla="*/ 681038 w 1905000"/>
                <a:gd name="connsiteY15" fmla="*/ 1200150 h 1905000"/>
                <a:gd name="connsiteX16" fmla="*/ 52388 w 1905000"/>
                <a:gd name="connsiteY16" fmla="*/ 1200150 h 1905000"/>
                <a:gd name="connsiteX17" fmla="*/ 0 w 1905000"/>
                <a:gd name="connsiteY17" fmla="*/ 1147763 h 1905000"/>
                <a:gd name="connsiteX18" fmla="*/ 0 w 1905000"/>
                <a:gd name="connsiteY18" fmla="*/ 757238 h 1905000"/>
                <a:gd name="connsiteX19" fmla="*/ 52388 w 1905000"/>
                <a:gd name="connsiteY19" fmla="*/ 704850 h 1905000"/>
                <a:gd name="connsiteX20" fmla="*/ 681038 w 1905000"/>
                <a:gd name="connsiteY20" fmla="*/ 704850 h 1905000"/>
                <a:gd name="connsiteX21" fmla="*/ 704850 w 1905000"/>
                <a:gd name="connsiteY21" fmla="*/ 681038 h 1905000"/>
                <a:gd name="connsiteX22" fmla="*/ 704850 w 1905000"/>
                <a:gd name="connsiteY22" fmla="*/ 52388 h 1905000"/>
                <a:gd name="connsiteX23" fmla="*/ 757238 w 1905000"/>
                <a:gd name="connsiteY23" fmla="*/ 0 h 1905000"/>
                <a:gd name="connsiteX24" fmla="*/ 1147763 w 1905000"/>
                <a:gd name="connsiteY2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05000" h="1905000">
                  <a:moveTo>
                    <a:pt x="1147763" y="0"/>
                  </a:moveTo>
                  <a:cubicBezTo>
                    <a:pt x="1176719" y="0"/>
                    <a:pt x="1200150" y="23432"/>
                    <a:pt x="1200150" y="52388"/>
                  </a:cubicBezTo>
                  <a:lnTo>
                    <a:pt x="1200150" y="681038"/>
                  </a:lnTo>
                  <a:cubicBezTo>
                    <a:pt x="1200150" y="694182"/>
                    <a:pt x="1210818" y="704850"/>
                    <a:pt x="1223963" y="704850"/>
                  </a:cubicBezTo>
                  <a:lnTo>
                    <a:pt x="1852613" y="704850"/>
                  </a:lnTo>
                  <a:cubicBezTo>
                    <a:pt x="1881568" y="704850"/>
                    <a:pt x="1905000" y="728282"/>
                    <a:pt x="1905000" y="757238"/>
                  </a:cubicBezTo>
                  <a:lnTo>
                    <a:pt x="1905000" y="1147763"/>
                  </a:lnTo>
                  <a:cubicBezTo>
                    <a:pt x="1905000" y="1176719"/>
                    <a:pt x="1881568" y="1200150"/>
                    <a:pt x="1852613" y="1200150"/>
                  </a:cubicBezTo>
                  <a:lnTo>
                    <a:pt x="1223963" y="1200150"/>
                  </a:lnTo>
                  <a:cubicBezTo>
                    <a:pt x="1210818" y="1200150"/>
                    <a:pt x="1200150" y="1210818"/>
                    <a:pt x="1200150" y="1223963"/>
                  </a:cubicBezTo>
                  <a:lnTo>
                    <a:pt x="1200150" y="1852613"/>
                  </a:lnTo>
                  <a:cubicBezTo>
                    <a:pt x="1200150" y="1881568"/>
                    <a:pt x="1176719" y="1905000"/>
                    <a:pt x="1147763" y="1905000"/>
                  </a:cubicBezTo>
                  <a:lnTo>
                    <a:pt x="757238" y="1905000"/>
                  </a:lnTo>
                  <a:cubicBezTo>
                    <a:pt x="728282" y="1905000"/>
                    <a:pt x="704850" y="1881568"/>
                    <a:pt x="704850" y="1852613"/>
                  </a:cubicBezTo>
                  <a:lnTo>
                    <a:pt x="704850" y="1223963"/>
                  </a:lnTo>
                  <a:cubicBezTo>
                    <a:pt x="704850" y="1210818"/>
                    <a:pt x="694182" y="1200150"/>
                    <a:pt x="681038" y="1200150"/>
                  </a:cubicBezTo>
                  <a:lnTo>
                    <a:pt x="52388" y="1200150"/>
                  </a:lnTo>
                  <a:cubicBezTo>
                    <a:pt x="23432" y="1200150"/>
                    <a:pt x="0" y="1176719"/>
                    <a:pt x="0" y="1147763"/>
                  </a:cubicBezTo>
                  <a:lnTo>
                    <a:pt x="0" y="757238"/>
                  </a:lnTo>
                  <a:cubicBezTo>
                    <a:pt x="0" y="728282"/>
                    <a:pt x="23432" y="704850"/>
                    <a:pt x="52388" y="704850"/>
                  </a:cubicBezTo>
                  <a:lnTo>
                    <a:pt x="681038" y="704850"/>
                  </a:lnTo>
                  <a:cubicBezTo>
                    <a:pt x="694182" y="704850"/>
                    <a:pt x="704850" y="694182"/>
                    <a:pt x="704850" y="681038"/>
                  </a:cubicBezTo>
                  <a:lnTo>
                    <a:pt x="704850" y="52388"/>
                  </a:lnTo>
                  <a:cubicBezTo>
                    <a:pt x="704850" y="23432"/>
                    <a:pt x="728282" y="0"/>
                    <a:pt x="757238" y="0"/>
                  </a:cubicBezTo>
                  <a:lnTo>
                    <a:pt x="1147763" y="0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186B043-CC9B-EF16-3ABC-50325565231D}"/>
              </a:ext>
            </a:extLst>
          </p:cNvPr>
          <p:cNvGrpSpPr/>
          <p:nvPr/>
        </p:nvGrpSpPr>
        <p:grpSpPr>
          <a:xfrm>
            <a:off x="7939611" y="3766300"/>
            <a:ext cx="3729378" cy="1224724"/>
            <a:chOff x="3289629" y="4679987"/>
            <a:chExt cx="3729378" cy="1224724"/>
          </a:xfrm>
        </p:grpSpPr>
        <p:sp>
          <p:nvSpPr>
            <p:cNvPr id="28" name="Text Placeholder 8">
              <a:extLst>
                <a:ext uri="{FF2B5EF4-FFF2-40B4-BE49-F238E27FC236}">
                  <a16:creationId xmlns:a16="http://schemas.microsoft.com/office/drawing/2014/main" id="{6991B016-C19F-64E7-8DF5-44D53144F938}"/>
                </a:ext>
              </a:extLst>
            </p:cNvPr>
            <p:cNvSpPr txBox="1">
              <a:spLocks/>
            </p:cNvSpPr>
            <p:nvPr/>
          </p:nvSpPr>
          <p:spPr>
            <a:xfrm>
              <a:off x="3715377" y="4884163"/>
              <a:ext cx="3303630" cy="1020548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288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36576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54864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2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05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dirty="0">
                  <a:solidFill>
                    <a:srgbClr val="0F440E"/>
                  </a:solidFill>
                </a:rPr>
                <a:t>Driving progress toward sustainability goals and commercial value</a:t>
              </a:r>
            </a:p>
          </p:txBody>
        </p:sp>
        <p:sp>
          <p:nvSpPr>
            <p:cNvPr id="11" name="Graphic 15">
              <a:extLst>
                <a:ext uri="{FF2B5EF4-FFF2-40B4-BE49-F238E27FC236}">
                  <a16:creationId xmlns:a16="http://schemas.microsoft.com/office/drawing/2014/main" id="{BD5F57E5-B4B0-0DE3-9909-CAFEEEBB7FC9}"/>
                </a:ext>
              </a:extLst>
            </p:cNvPr>
            <p:cNvSpPr/>
            <p:nvPr/>
          </p:nvSpPr>
          <p:spPr>
            <a:xfrm>
              <a:off x="3289629" y="4679987"/>
              <a:ext cx="408351" cy="408351"/>
            </a:xfrm>
            <a:custGeom>
              <a:avLst/>
              <a:gdLst>
                <a:gd name="connsiteX0" fmla="*/ 1147763 w 1905000"/>
                <a:gd name="connsiteY0" fmla="*/ 0 h 1905000"/>
                <a:gd name="connsiteX1" fmla="*/ 1200150 w 1905000"/>
                <a:gd name="connsiteY1" fmla="*/ 52388 h 1905000"/>
                <a:gd name="connsiteX2" fmla="*/ 1200150 w 1905000"/>
                <a:gd name="connsiteY2" fmla="*/ 681038 h 1905000"/>
                <a:gd name="connsiteX3" fmla="*/ 1223963 w 1905000"/>
                <a:gd name="connsiteY3" fmla="*/ 704850 h 1905000"/>
                <a:gd name="connsiteX4" fmla="*/ 1852613 w 1905000"/>
                <a:gd name="connsiteY4" fmla="*/ 704850 h 1905000"/>
                <a:gd name="connsiteX5" fmla="*/ 1905000 w 1905000"/>
                <a:gd name="connsiteY5" fmla="*/ 757238 h 1905000"/>
                <a:gd name="connsiteX6" fmla="*/ 1905000 w 1905000"/>
                <a:gd name="connsiteY6" fmla="*/ 1147763 h 1905000"/>
                <a:gd name="connsiteX7" fmla="*/ 1852613 w 1905000"/>
                <a:gd name="connsiteY7" fmla="*/ 1200150 h 1905000"/>
                <a:gd name="connsiteX8" fmla="*/ 1223963 w 1905000"/>
                <a:gd name="connsiteY8" fmla="*/ 1200150 h 1905000"/>
                <a:gd name="connsiteX9" fmla="*/ 1200150 w 1905000"/>
                <a:gd name="connsiteY9" fmla="*/ 1223963 h 1905000"/>
                <a:gd name="connsiteX10" fmla="*/ 1200150 w 1905000"/>
                <a:gd name="connsiteY10" fmla="*/ 1852613 h 1905000"/>
                <a:gd name="connsiteX11" fmla="*/ 1147763 w 1905000"/>
                <a:gd name="connsiteY11" fmla="*/ 1905000 h 1905000"/>
                <a:gd name="connsiteX12" fmla="*/ 757238 w 1905000"/>
                <a:gd name="connsiteY12" fmla="*/ 1905000 h 1905000"/>
                <a:gd name="connsiteX13" fmla="*/ 704850 w 1905000"/>
                <a:gd name="connsiteY13" fmla="*/ 1852613 h 1905000"/>
                <a:gd name="connsiteX14" fmla="*/ 704850 w 1905000"/>
                <a:gd name="connsiteY14" fmla="*/ 1223963 h 1905000"/>
                <a:gd name="connsiteX15" fmla="*/ 681038 w 1905000"/>
                <a:gd name="connsiteY15" fmla="*/ 1200150 h 1905000"/>
                <a:gd name="connsiteX16" fmla="*/ 52388 w 1905000"/>
                <a:gd name="connsiteY16" fmla="*/ 1200150 h 1905000"/>
                <a:gd name="connsiteX17" fmla="*/ 0 w 1905000"/>
                <a:gd name="connsiteY17" fmla="*/ 1147763 h 1905000"/>
                <a:gd name="connsiteX18" fmla="*/ 0 w 1905000"/>
                <a:gd name="connsiteY18" fmla="*/ 757238 h 1905000"/>
                <a:gd name="connsiteX19" fmla="*/ 52388 w 1905000"/>
                <a:gd name="connsiteY19" fmla="*/ 704850 h 1905000"/>
                <a:gd name="connsiteX20" fmla="*/ 681038 w 1905000"/>
                <a:gd name="connsiteY20" fmla="*/ 704850 h 1905000"/>
                <a:gd name="connsiteX21" fmla="*/ 704850 w 1905000"/>
                <a:gd name="connsiteY21" fmla="*/ 681038 h 1905000"/>
                <a:gd name="connsiteX22" fmla="*/ 704850 w 1905000"/>
                <a:gd name="connsiteY22" fmla="*/ 52388 h 1905000"/>
                <a:gd name="connsiteX23" fmla="*/ 757238 w 1905000"/>
                <a:gd name="connsiteY23" fmla="*/ 0 h 1905000"/>
                <a:gd name="connsiteX24" fmla="*/ 1147763 w 1905000"/>
                <a:gd name="connsiteY2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05000" h="1905000">
                  <a:moveTo>
                    <a:pt x="1147763" y="0"/>
                  </a:moveTo>
                  <a:cubicBezTo>
                    <a:pt x="1176719" y="0"/>
                    <a:pt x="1200150" y="23432"/>
                    <a:pt x="1200150" y="52388"/>
                  </a:cubicBezTo>
                  <a:lnTo>
                    <a:pt x="1200150" y="681038"/>
                  </a:lnTo>
                  <a:cubicBezTo>
                    <a:pt x="1200150" y="694182"/>
                    <a:pt x="1210818" y="704850"/>
                    <a:pt x="1223963" y="704850"/>
                  </a:cubicBezTo>
                  <a:lnTo>
                    <a:pt x="1852613" y="704850"/>
                  </a:lnTo>
                  <a:cubicBezTo>
                    <a:pt x="1881568" y="704850"/>
                    <a:pt x="1905000" y="728282"/>
                    <a:pt x="1905000" y="757238"/>
                  </a:cubicBezTo>
                  <a:lnTo>
                    <a:pt x="1905000" y="1147763"/>
                  </a:lnTo>
                  <a:cubicBezTo>
                    <a:pt x="1905000" y="1176719"/>
                    <a:pt x="1881568" y="1200150"/>
                    <a:pt x="1852613" y="1200150"/>
                  </a:cubicBezTo>
                  <a:lnTo>
                    <a:pt x="1223963" y="1200150"/>
                  </a:lnTo>
                  <a:cubicBezTo>
                    <a:pt x="1210818" y="1200150"/>
                    <a:pt x="1200150" y="1210818"/>
                    <a:pt x="1200150" y="1223963"/>
                  </a:cubicBezTo>
                  <a:lnTo>
                    <a:pt x="1200150" y="1852613"/>
                  </a:lnTo>
                  <a:cubicBezTo>
                    <a:pt x="1200150" y="1881568"/>
                    <a:pt x="1176719" y="1905000"/>
                    <a:pt x="1147763" y="1905000"/>
                  </a:cubicBezTo>
                  <a:lnTo>
                    <a:pt x="757238" y="1905000"/>
                  </a:lnTo>
                  <a:cubicBezTo>
                    <a:pt x="728282" y="1905000"/>
                    <a:pt x="704850" y="1881568"/>
                    <a:pt x="704850" y="1852613"/>
                  </a:cubicBezTo>
                  <a:lnTo>
                    <a:pt x="704850" y="1223963"/>
                  </a:lnTo>
                  <a:cubicBezTo>
                    <a:pt x="704850" y="1210818"/>
                    <a:pt x="694182" y="1200150"/>
                    <a:pt x="681038" y="1200150"/>
                  </a:cubicBezTo>
                  <a:lnTo>
                    <a:pt x="52388" y="1200150"/>
                  </a:lnTo>
                  <a:cubicBezTo>
                    <a:pt x="23432" y="1200150"/>
                    <a:pt x="0" y="1176719"/>
                    <a:pt x="0" y="1147763"/>
                  </a:cubicBezTo>
                  <a:lnTo>
                    <a:pt x="0" y="757238"/>
                  </a:lnTo>
                  <a:cubicBezTo>
                    <a:pt x="0" y="728282"/>
                    <a:pt x="23432" y="704850"/>
                    <a:pt x="52388" y="704850"/>
                  </a:cubicBezTo>
                  <a:lnTo>
                    <a:pt x="681038" y="704850"/>
                  </a:lnTo>
                  <a:cubicBezTo>
                    <a:pt x="694182" y="704850"/>
                    <a:pt x="704850" y="694182"/>
                    <a:pt x="704850" y="681038"/>
                  </a:cubicBezTo>
                  <a:lnTo>
                    <a:pt x="704850" y="52388"/>
                  </a:lnTo>
                  <a:cubicBezTo>
                    <a:pt x="704850" y="23432"/>
                    <a:pt x="728282" y="0"/>
                    <a:pt x="757238" y="0"/>
                  </a:cubicBezTo>
                  <a:lnTo>
                    <a:pt x="1147763" y="0"/>
                  </a:lnTo>
                  <a:close/>
                </a:path>
              </a:pathLst>
            </a:custGeom>
            <a:solidFill>
              <a:srgbClr val="0F440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827F72E-A57E-5F2E-67BC-E9197E988C97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>
                <a:solidFill>
                  <a:srgbClr val="8EBC29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8970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D910A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6AABBF-A6E2-486B-1584-220DFBB8B9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green leaves on a black background&#10;&#10;Description automatically generated">
            <a:extLst>
              <a:ext uri="{FF2B5EF4-FFF2-40B4-BE49-F238E27FC236}">
                <a16:creationId xmlns:a16="http://schemas.microsoft.com/office/drawing/2014/main" id="{902B1E01-821F-3245-6C9F-67FC9BA920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349" r="23966"/>
          <a:stretch/>
        </p:blipFill>
        <p:spPr>
          <a:xfrm>
            <a:off x="10571433" y="12095"/>
            <a:ext cx="1620567" cy="1898156"/>
          </a:xfrm>
          <a:prstGeom prst="rect">
            <a:avLst/>
          </a:prstGeom>
        </p:spPr>
      </p:pic>
      <p:pic>
        <p:nvPicPr>
          <p:cNvPr id="8" name="Picture 7" descr="A green circle with black background&#10;&#10;Description automatically generated">
            <a:extLst>
              <a:ext uri="{FF2B5EF4-FFF2-40B4-BE49-F238E27FC236}">
                <a16:creationId xmlns:a16="http://schemas.microsoft.com/office/drawing/2014/main" id="{772C65E7-7755-9B93-BF7E-E3AC6DF35B2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0346"/>
          <a:stretch/>
        </p:blipFill>
        <p:spPr>
          <a:xfrm>
            <a:off x="2251631" y="0"/>
            <a:ext cx="7688738" cy="3817757"/>
          </a:xfrm>
          <a:prstGeom prst="rect">
            <a:avLst/>
          </a:prstGeom>
        </p:spPr>
      </p:pic>
      <p:pic>
        <p:nvPicPr>
          <p:cNvPr id="30" name="Picture 29" descr="A green leaves on a black background&#10;&#10;Description automatically generated">
            <a:extLst>
              <a:ext uri="{FF2B5EF4-FFF2-40B4-BE49-F238E27FC236}">
                <a16:creationId xmlns:a16="http://schemas.microsoft.com/office/drawing/2014/main" id="{CC7ED949-3B98-62F2-B762-9445C80B443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168" b="15263"/>
          <a:stretch/>
        </p:blipFill>
        <p:spPr>
          <a:xfrm>
            <a:off x="0" y="3591041"/>
            <a:ext cx="2133668" cy="3218579"/>
          </a:xfrm>
          <a:prstGeom prst="rect">
            <a:avLst/>
          </a:prstGeom>
        </p:spPr>
      </p:pic>
      <p:pic>
        <p:nvPicPr>
          <p:cNvPr id="28" name="Picture 27" descr="A green oval with black background&#10;&#10;Description automatically generated">
            <a:extLst>
              <a:ext uri="{FF2B5EF4-FFF2-40B4-BE49-F238E27FC236}">
                <a16:creationId xmlns:a16="http://schemas.microsoft.com/office/drawing/2014/main" id="{AC35D4F1-9580-314C-06B2-3833E51AD1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894198" flipH="1">
            <a:off x="91141" y="2227577"/>
            <a:ext cx="1326574" cy="24143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8073F2B-B032-98BB-FB2C-5C1265F739D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006726" y="2659978"/>
            <a:ext cx="1161288" cy="116128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AB19E99-71E3-7A88-1DEB-DF87554B777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966065" y="2675634"/>
            <a:ext cx="1162050" cy="1162050"/>
          </a:xfrm>
          <a:prstGeom prst="rect">
            <a:avLst/>
          </a:prstGeom>
        </p:spPr>
      </p:pic>
      <p:sp>
        <p:nvSpPr>
          <p:cNvPr id="4" name="Title 27">
            <a:extLst>
              <a:ext uri="{FF2B5EF4-FFF2-40B4-BE49-F238E27FC236}">
                <a16:creationId xmlns:a16="http://schemas.microsoft.com/office/drawing/2014/main" id="{3C327559-A1AC-F954-C52B-D7B7020B6B13}"/>
              </a:ext>
            </a:extLst>
          </p:cNvPr>
          <p:cNvSpPr txBox="1">
            <a:spLocks/>
          </p:cNvSpPr>
          <p:nvPr/>
        </p:nvSpPr>
        <p:spPr>
          <a:xfrm>
            <a:off x="3429000" y="1024837"/>
            <a:ext cx="5334001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02355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PARTNERS FOR TOMORROW:</a:t>
            </a:r>
          </a:p>
          <a:p>
            <a:pPr marL="0" marR="0" lvl="0" indent="0" algn="ctr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Solutions that span key sustainability categor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D5674D1-816A-BD55-1D62-3823A21C4F14}"/>
              </a:ext>
            </a:extLst>
          </p:cNvPr>
          <p:cNvSpPr txBox="1"/>
          <p:nvPr/>
        </p:nvSpPr>
        <p:spPr>
          <a:xfrm>
            <a:off x="759082" y="3159953"/>
            <a:ext cx="1807470" cy="8494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GRICULTURE FOR TOMORROW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ow Positive (Sow+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CB5F4-2301-7D99-74D3-93A0CF9A20FC}"/>
              </a:ext>
            </a:extLst>
          </p:cNvPr>
          <p:cNvSpPr txBox="1"/>
          <p:nvPr/>
        </p:nvSpPr>
        <p:spPr>
          <a:xfrm>
            <a:off x="2683635" y="4014731"/>
            <a:ext cx="1807470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LEARNING FOR TOMORROW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ustainability Summit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ustainability Action Center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69F4C7F-0E2C-EC2E-70FF-1AFB95FCD6AA}"/>
              </a:ext>
            </a:extLst>
          </p:cNvPr>
          <p:cNvSpPr txBox="1"/>
          <p:nvPr/>
        </p:nvSpPr>
        <p:spPr>
          <a:xfrm>
            <a:off x="5210941" y="4686505"/>
            <a:ext cx="1807470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ENERGY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FOR TOMORROW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ep+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new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F38975-9382-AE59-7AEE-A7EF26C0B9E8}"/>
              </a:ext>
            </a:extLst>
          </p:cNvPr>
          <p:cNvSpPr txBox="1"/>
          <p:nvPr/>
        </p:nvSpPr>
        <p:spPr>
          <a:xfrm>
            <a:off x="7641767" y="4040960"/>
            <a:ext cx="1807470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ACKAGING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FOR TOMORROW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ustainable Cups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4009FC-A879-C82D-913A-4489D7B93203}"/>
              </a:ext>
            </a:extLst>
          </p:cNvPr>
          <p:cNvSpPr txBox="1"/>
          <p:nvPr/>
        </p:nvSpPr>
        <p:spPr>
          <a:xfrm>
            <a:off x="9678734" y="3159953"/>
            <a:ext cx="1807470" cy="200362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CYCLING </a:t>
            </a:r>
            <a:br>
              <a:rPr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T Pressura LCG Black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FOR TOMORROW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IRQU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</a:endParaRP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scar Sort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</a:endParaRP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cycling Bins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</a:endParaRP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lyn’s Reverse Vending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DA06ABA-F250-45DF-4BAB-0C53B0F15F9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5539178" y="3331752"/>
            <a:ext cx="1161288" cy="116128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6C957E4-A623-47AA-8B2A-99A86B7B0FC5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084995" y="1805200"/>
            <a:ext cx="1161288" cy="116128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A7BC686-A738-5640-E429-72E2744A2BB6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9999002" y="1805200"/>
            <a:ext cx="1161288" cy="116128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3FA43A8-DC5A-A6D7-3F3E-CB6BB718CCD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8799CA8-1ACE-3460-C79A-777B8A5E5818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9580F086-9A39-4CC8-BC60-DEDCBFF95826}"/>
              </a:ext>
            </a:extLst>
          </p:cNvPr>
          <p:cNvSpPr/>
          <p:nvPr/>
        </p:nvSpPr>
        <p:spPr>
          <a:xfrm>
            <a:off x="4485344" y="5984011"/>
            <a:ext cx="3221312" cy="599183"/>
          </a:xfrm>
          <a:prstGeom prst="roundRect">
            <a:avLst>
              <a:gd name="adj" fmla="val 17814"/>
            </a:avLst>
          </a:prstGeom>
          <a:solidFill>
            <a:srgbClr val="2B66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LICK HERE TO VISI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NERSFORTOMORROW.CO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87D0FDD-60C3-140E-E32E-E533B63FB3EE}"/>
              </a:ext>
            </a:extLst>
          </p:cNvPr>
          <p:cNvSpPr/>
          <p:nvPr/>
        </p:nvSpPr>
        <p:spPr>
          <a:xfrm>
            <a:off x="9673093" y="3132386"/>
            <a:ext cx="1807470" cy="2093336"/>
          </a:xfrm>
          <a:prstGeom prst="roundRect">
            <a:avLst>
              <a:gd name="adj" fmla="val 4649"/>
            </a:avLst>
          </a:prstGeom>
          <a:noFill/>
          <a:ln w="254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878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A3AA0E-DDDC-885B-2FF3-2819FBB493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9D7E4C7D-E67A-DC84-CAD4-3B443EB15D2B}"/>
              </a:ext>
            </a:extLst>
          </p:cNvPr>
          <p:cNvSpPr/>
          <p:nvPr/>
        </p:nvSpPr>
        <p:spPr>
          <a:xfrm>
            <a:off x="-1" y="4580428"/>
            <a:ext cx="5381355" cy="2277571"/>
          </a:xfrm>
          <a:prstGeom prst="round1Rect">
            <a:avLst>
              <a:gd name="adj" fmla="val 7003"/>
            </a:avLst>
          </a:prstGeom>
          <a:solidFill>
            <a:srgbClr val="15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A689F94-C592-AF23-1A6E-38F918D34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89F94-C592-AF23-1A6E-38F918D34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9">
            <a:extLst>
              <a:ext uri="{FF2B5EF4-FFF2-40B4-BE49-F238E27FC236}">
                <a16:creationId xmlns:a16="http://schemas.microsoft.com/office/drawing/2014/main" id="{35D45FB3-657E-994C-4ECA-979C4F67C766}"/>
              </a:ext>
            </a:extLst>
          </p:cNvPr>
          <p:cNvSpPr txBox="1">
            <a:spLocks/>
          </p:cNvSpPr>
          <p:nvPr/>
        </p:nvSpPr>
        <p:spPr>
          <a:xfrm>
            <a:off x="304796" y="289519"/>
            <a:ext cx="5076554" cy="1407327"/>
          </a:xfrm>
          <a:prstGeom prst="rect">
            <a:avLst/>
          </a:prstGeom>
        </p:spPr>
        <p:txBody>
          <a:bodyPr vert="horz" lIns="0" tIns="0" rIns="0" bIns="0" anchor="t"/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 spc="-2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80000"/>
              </a:lnSpc>
              <a:defRPr/>
            </a:pPr>
            <a:r>
              <a:rPr lang="en-US" sz="4800" b="0" dirty="0">
                <a:solidFill>
                  <a:srgbClr val="02355A"/>
                </a:solidFill>
              </a:rPr>
              <a:t>RECYCLING </a:t>
            </a:r>
            <a:br>
              <a:rPr lang="en-US" sz="4800" b="0" dirty="0">
                <a:solidFill>
                  <a:srgbClr val="02355A"/>
                </a:solidFill>
              </a:rPr>
            </a:br>
            <a:r>
              <a:rPr lang="en-US" sz="4800" b="0" dirty="0">
                <a:solidFill>
                  <a:srgbClr val="02355A"/>
                </a:solidFill>
              </a:rPr>
              <a:t>BI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F3C191A-F963-51B5-4184-BEE2D75C0500}"/>
              </a:ext>
            </a:extLst>
          </p:cNvPr>
          <p:cNvSpPr txBox="1"/>
          <p:nvPr/>
        </p:nvSpPr>
        <p:spPr>
          <a:xfrm>
            <a:off x="304799" y="1696846"/>
            <a:ext cx="5072003" cy="16773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2355A"/>
                </a:solidFill>
                <a:effectLst/>
                <a:uLnTx/>
                <a:uFillTx/>
                <a:ea typeface="+mn-ea"/>
                <a:cs typeface="+mn-cs"/>
                <a:sym typeface="Poppins SemiBold"/>
              </a:rPr>
              <a:t>Recycling is no longer optional —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2355A"/>
                </a:solidFill>
                <a:effectLst/>
                <a:uLnTx/>
                <a:uFillTx/>
                <a:ea typeface="+mn-ea"/>
                <a:cs typeface="+mn-cs"/>
                <a:sym typeface="Poppins SemiBold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2355A"/>
                </a:solidFill>
                <a:effectLst/>
                <a:uLnTx/>
                <a:uFillTx/>
                <a:ea typeface="+mn-ea"/>
                <a:cs typeface="+mn-cs"/>
                <a:sym typeface="Poppins SemiBold"/>
              </a:rPr>
              <a:t>it’s a mu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  <a:sym typeface="Poppins SemiBold"/>
              </a:rPr>
              <a:t>Consumers want to make the responsible decision to recycle after consuming our products, and we’re happy to provide recycling bins for plastic bottles and aluminum can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6EC307-DE3B-75C5-79F1-C02627FCC5A2}"/>
              </a:ext>
            </a:extLst>
          </p:cNvPr>
          <p:cNvGrpSpPr/>
          <p:nvPr/>
        </p:nvGrpSpPr>
        <p:grpSpPr>
          <a:xfrm>
            <a:off x="304799" y="4695006"/>
            <a:ext cx="4862226" cy="1562324"/>
            <a:chOff x="330091" y="4502783"/>
            <a:chExt cx="4862226" cy="1562324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8AEA75C-DDE2-71BE-F07F-4AB92B07C530}"/>
                </a:ext>
              </a:extLst>
            </p:cNvPr>
            <p:cNvSpPr txBox="1"/>
            <p:nvPr/>
          </p:nvSpPr>
          <p:spPr>
            <a:xfrm>
              <a:off x="694634" y="4772445"/>
              <a:ext cx="4497683" cy="129266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prstClr val="black"/>
                </a:buClr>
                <a:buSzPts val="800"/>
                <a:buFont typeface="Arial"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A5CBE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  <a:sym typeface="Poppins SemiBold"/>
                </a:rPr>
                <a:t>TOGETHER, LET’S INCREASE CONSUMER ACCESS TO RECYCLING </a:t>
              </a:r>
            </a:p>
          </p:txBody>
        </p:sp>
        <p:sp>
          <p:nvSpPr>
            <p:cNvPr id="26" name="Graphic 15">
              <a:extLst>
                <a:ext uri="{FF2B5EF4-FFF2-40B4-BE49-F238E27FC236}">
                  <a16:creationId xmlns:a16="http://schemas.microsoft.com/office/drawing/2014/main" id="{DF5446EE-8BC5-0684-DAA8-61D3DD88B98F}"/>
                </a:ext>
              </a:extLst>
            </p:cNvPr>
            <p:cNvSpPr/>
            <p:nvPr/>
          </p:nvSpPr>
          <p:spPr>
            <a:xfrm>
              <a:off x="330091" y="4502783"/>
              <a:ext cx="364542" cy="364542"/>
            </a:xfrm>
            <a:custGeom>
              <a:avLst/>
              <a:gdLst>
                <a:gd name="connsiteX0" fmla="*/ 1147763 w 1905000"/>
                <a:gd name="connsiteY0" fmla="*/ 0 h 1905000"/>
                <a:gd name="connsiteX1" fmla="*/ 1200150 w 1905000"/>
                <a:gd name="connsiteY1" fmla="*/ 52388 h 1905000"/>
                <a:gd name="connsiteX2" fmla="*/ 1200150 w 1905000"/>
                <a:gd name="connsiteY2" fmla="*/ 681038 h 1905000"/>
                <a:gd name="connsiteX3" fmla="*/ 1223963 w 1905000"/>
                <a:gd name="connsiteY3" fmla="*/ 704850 h 1905000"/>
                <a:gd name="connsiteX4" fmla="*/ 1852613 w 1905000"/>
                <a:gd name="connsiteY4" fmla="*/ 704850 h 1905000"/>
                <a:gd name="connsiteX5" fmla="*/ 1905000 w 1905000"/>
                <a:gd name="connsiteY5" fmla="*/ 757238 h 1905000"/>
                <a:gd name="connsiteX6" fmla="*/ 1905000 w 1905000"/>
                <a:gd name="connsiteY6" fmla="*/ 1147763 h 1905000"/>
                <a:gd name="connsiteX7" fmla="*/ 1852613 w 1905000"/>
                <a:gd name="connsiteY7" fmla="*/ 1200150 h 1905000"/>
                <a:gd name="connsiteX8" fmla="*/ 1223963 w 1905000"/>
                <a:gd name="connsiteY8" fmla="*/ 1200150 h 1905000"/>
                <a:gd name="connsiteX9" fmla="*/ 1200150 w 1905000"/>
                <a:gd name="connsiteY9" fmla="*/ 1223963 h 1905000"/>
                <a:gd name="connsiteX10" fmla="*/ 1200150 w 1905000"/>
                <a:gd name="connsiteY10" fmla="*/ 1852613 h 1905000"/>
                <a:gd name="connsiteX11" fmla="*/ 1147763 w 1905000"/>
                <a:gd name="connsiteY11" fmla="*/ 1905000 h 1905000"/>
                <a:gd name="connsiteX12" fmla="*/ 757238 w 1905000"/>
                <a:gd name="connsiteY12" fmla="*/ 1905000 h 1905000"/>
                <a:gd name="connsiteX13" fmla="*/ 704850 w 1905000"/>
                <a:gd name="connsiteY13" fmla="*/ 1852613 h 1905000"/>
                <a:gd name="connsiteX14" fmla="*/ 704850 w 1905000"/>
                <a:gd name="connsiteY14" fmla="*/ 1223963 h 1905000"/>
                <a:gd name="connsiteX15" fmla="*/ 681038 w 1905000"/>
                <a:gd name="connsiteY15" fmla="*/ 1200150 h 1905000"/>
                <a:gd name="connsiteX16" fmla="*/ 52388 w 1905000"/>
                <a:gd name="connsiteY16" fmla="*/ 1200150 h 1905000"/>
                <a:gd name="connsiteX17" fmla="*/ 0 w 1905000"/>
                <a:gd name="connsiteY17" fmla="*/ 1147763 h 1905000"/>
                <a:gd name="connsiteX18" fmla="*/ 0 w 1905000"/>
                <a:gd name="connsiteY18" fmla="*/ 757238 h 1905000"/>
                <a:gd name="connsiteX19" fmla="*/ 52388 w 1905000"/>
                <a:gd name="connsiteY19" fmla="*/ 704850 h 1905000"/>
                <a:gd name="connsiteX20" fmla="*/ 681038 w 1905000"/>
                <a:gd name="connsiteY20" fmla="*/ 704850 h 1905000"/>
                <a:gd name="connsiteX21" fmla="*/ 704850 w 1905000"/>
                <a:gd name="connsiteY21" fmla="*/ 681038 h 1905000"/>
                <a:gd name="connsiteX22" fmla="*/ 704850 w 1905000"/>
                <a:gd name="connsiteY22" fmla="*/ 52388 h 1905000"/>
                <a:gd name="connsiteX23" fmla="*/ 757238 w 1905000"/>
                <a:gd name="connsiteY23" fmla="*/ 0 h 1905000"/>
                <a:gd name="connsiteX24" fmla="*/ 1147763 w 1905000"/>
                <a:gd name="connsiteY2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05000" h="1905000">
                  <a:moveTo>
                    <a:pt x="1147763" y="0"/>
                  </a:moveTo>
                  <a:cubicBezTo>
                    <a:pt x="1176719" y="0"/>
                    <a:pt x="1200150" y="23432"/>
                    <a:pt x="1200150" y="52388"/>
                  </a:cubicBezTo>
                  <a:lnTo>
                    <a:pt x="1200150" y="681038"/>
                  </a:lnTo>
                  <a:cubicBezTo>
                    <a:pt x="1200150" y="694182"/>
                    <a:pt x="1210818" y="704850"/>
                    <a:pt x="1223963" y="704850"/>
                  </a:cubicBezTo>
                  <a:lnTo>
                    <a:pt x="1852613" y="704850"/>
                  </a:lnTo>
                  <a:cubicBezTo>
                    <a:pt x="1881568" y="704850"/>
                    <a:pt x="1905000" y="728282"/>
                    <a:pt x="1905000" y="757238"/>
                  </a:cubicBezTo>
                  <a:lnTo>
                    <a:pt x="1905000" y="1147763"/>
                  </a:lnTo>
                  <a:cubicBezTo>
                    <a:pt x="1905000" y="1176719"/>
                    <a:pt x="1881568" y="1200150"/>
                    <a:pt x="1852613" y="1200150"/>
                  </a:cubicBezTo>
                  <a:lnTo>
                    <a:pt x="1223963" y="1200150"/>
                  </a:lnTo>
                  <a:cubicBezTo>
                    <a:pt x="1210818" y="1200150"/>
                    <a:pt x="1200150" y="1210818"/>
                    <a:pt x="1200150" y="1223963"/>
                  </a:cubicBezTo>
                  <a:lnTo>
                    <a:pt x="1200150" y="1852613"/>
                  </a:lnTo>
                  <a:cubicBezTo>
                    <a:pt x="1200150" y="1881568"/>
                    <a:pt x="1176719" y="1905000"/>
                    <a:pt x="1147763" y="1905000"/>
                  </a:cubicBezTo>
                  <a:lnTo>
                    <a:pt x="757238" y="1905000"/>
                  </a:lnTo>
                  <a:cubicBezTo>
                    <a:pt x="728282" y="1905000"/>
                    <a:pt x="704850" y="1881568"/>
                    <a:pt x="704850" y="1852613"/>
                  </a:cubicBezTo>
                  <a:lnTo>
                    <a:pt x="704850" y="1223963"/>
                  </a:lnTo>
                  <a:cubicBezTo>
                    <a:pt x="704850" y="1210818"/>
                    <a:pt x="694182" y="1200150"/>
                    <a:pt x="681038" y="1200150"/>
                  </a:cubicBezTo>
                  <a:lnTo>
                    <a:pt x="52388" y="1200150"/>
                  </a:lnTo>
                  <a:cubicBezTo>
                    <a:pt x="23432" y="1200150"/>
                    <a:pt x="0" y="1176719"/>
                    <a:pt x="0" y="1147763"/>
                  </a:cubicBezTo>
                  <a:lnTo>
                    <a:pt x="0" y="757238"/>
                  </a:lnTo>
                  <a:cubicBezTo>
                    <a:pt x="0" y="728282"/>
                    <a:pt x="23432" y="704850"/>
                    <a:pt x="52388" y="704850"/>
                  </a:cubicBezTo>
                  <a:lnTo>
                    <a:pt x="681038" y="704850"/>
                  </a:lnTo>
                  <a:cubicBezTo>
                    <a:pt x="694182" y="704850"/>
                    <a:pt x="704850" y="694182"/>
                    <a:pt x="704850" y="681038"/>
                  </a:cubicBezTo>
                  <a:lnTo>
                    <a:pt x="704850" y="52388"/>
                  </a:lnTo>
                  <a:cubicBezTo>
                    <a:pt x="704850" y="23432"/>
                    <a:pt x="728282" y="0"/>
                    <a:pt x="757238" y="0"/>
                  </a:cubicBezTo>
                  <a:lnTo>
                    <a:pt x="1147763" y="0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856503F-BF6A-67DB-94A6-99C50708DF1B}"/>
              </a:ext>
            </a:extLst>
          </p:cNvPr>
          <p:cNvGrpSpPr/>
          <p:nvPr/>
        </p:nvGrpSpPr>
        <p:grpSpPr>
          <a:xfrm>
            <a:off x="5713654" y="0"/>
            <a:ext cx="6173546" cy="6391293"/>
            <a:chOff x="5713654" y="-6184"/>
            <a:chExt cx="6173546" cy="6391293"/>
          </a:xfrm>
        </p:grpSpPr>
        <p:pic>
          <p:nvPicPr>
            <p:cNvPr id="43" name="Google Shape;348;p28">
              <a:extLst>
                <a:ext uri="{FF2B5EF4-FFF2-40B4-BE49-F238E27FC236}">
                  <a16:creationId xmlns:a16="http://schemas.microsoft.com/office/drawing/2014/main" id="{72C37F77-55D4-6567-4E55-C93158151B24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840" t="28527" r="26840" b="17400"/>
            <a:stretch>
              <a:fillRect/>
            </a:stretch>
          </p:blipFill>
          <p:spPr>
            <a:xfrm>
              <a:off x="5713654" y="1577839"/>
              <a:ext cx="6173546" cy="4807270"/>
            </a:xfrm>
            <a:prstGeom prst="roundRect">
              <a:avLst>
                <a:gd name="adj" fmla="val 1921"/>
              </a:avLst>
            </a:prstGeom>
          </p:spPr>
        </p:pic>
        <p:pic>
          <p:nvPicPr>
            <p:cNvPr id="34" name="Picture 33" descr="A can of soda with a logo on it&#10;&#10;AI-generated content may be incorrect.">
              <a:extLst>
                <a:ext uri="{FF2B5EF4-FFF2-40B4-BE49-F238E27FC236}">
                  <a16:creationId xmlns:a16="http://schemas.microsoft.com/office/drawing/2014/main" id="{0BF8A5C8-92CF-93B3-7F2B-8B854B347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/>
            </a:blip>
            <a:srcRect l="32947" t="10783" r="35418" b="18396"/>
            <a:stretch>
              <a:fillRect/>
            </a:stretch>
          </p:blipFill>
          <p:spPr>
            <a:xfrm>
              <a:off x="6515039" y="-6184"/>
              <a:ext cx="4233924" cy="6322256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08ED5D2-0537-1328-DCD3-E34A79DE9446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3</a:t>
            </a:fld>
            <a:endParaRPr lang="en-US" sz="13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8AFEB6-732C-8F5E-C2E7-8D430F20553D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2500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41B6D56-9B91-C0F0-F18A-9C059628CA5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1" name="Rectangle: Single Corner Rounded 40">
            <a:extLst>
              <a:ext uri="{FF2B5EF4-FFF2-40B4-BE49-F238E27FC236}">
                <a16:creationId xmlns:a16="http://schemas.microsoft.com/office/drawing/2014/main" id="{FDD4B73C-45F3-4D39-8E72-9EB0B22844E3}"/>
              </a:ext>
            </a:extLst>
          </p:cNvPr>
          <p:cNvSpPr/>
          <p:nvPr/>
        </p:nvSpPr>
        <p:spPr>
          <a:xfrm flipH="1" flipV="1">
            <a:off x="3105150" y="-1"/>
            <a:ext cx="9039222" cy="1876420"/>
          </a:xfrm>
          <a:prstGeom prst="round1Rect">
            <a:avLst>
              <a:gd name="adj" fmla="val 5838"/>
            </a:avLst>
          </a:prstGeom>
          <a:solidFill>
            <a:srgbClr val="15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3" name="Rectangle: Single Corner Rounded 112">
            <a:extLst>
              <a:ext uri="{FF2B5EF4-FFF2-40B4-BE49-F238E27FC236}">
                <a16:creationId xmlns:a16="http://schemas.microsoft.com/office/drawing/2014/main" id="{3369C6EA-FA13-B73F-4E02-1F3A1F4EFE30}"/>
              </a:ext>
            </a:extLst>
          </p:cNvPr>
          <p:cNvSpPr/>
          <p:nvPr/>
        </p:nvSpPr>
        <p:spPr>
          <a:xfrm flipH="1" flipV="1">
            <a:off x="3152774" y="0"/>
            <a:ext cx="9039222" cy="1830702"/>
          </a:xfrm>
          <a:prstGeom prst="round1Rect">
            <a:avLst>
              <a:gd name="adj" fmla="val 5221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Rectangle: Single Corner Rounded 96">
            <a:extLst>
              <a:ext uri="{FF2B5EF4-FFF2-40B4-BE49-F238E27FC236}">
                <a16:creationId xmlns:a16="http://schemas.microsoft.com/office/drawing/2014/main" id="{EC13E620-DC12-FED4-D812-524766875A3D}"/>
              </a:ext>
            </a:extLst>
          </p:cNvPr>
          <p:cNvSpPr/>
          <p:nvPr/>
        </p:nvSpPr>
        <p:spPr>
          <a:xfrm flipH="1" flipV="1">
            <a:off x="3499183" y="5203249"/>
            <a:ext cx="8692807" cy="1103248"/>
          </a:xfrm>
          <a:prstGeom prst="round1Rect">
            <a:avLst>
              <a:gd name="adj" fmla="val 7602"/>
            </a:avLst>
          </a:prstGeom>
          <a:solidFill>
            <a:srgbClr val="15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E998C5-5044-5407-2C1B-94DD3CBB5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E998C5-5044-5407-2C1B-94DD3CBB5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726EC7AC-1561-91C1-DA75-940F3BD473C4}"/>
              </a:ext>
            </a:extLst>
          </p:cNvPr>
          <p:cNvSpPr>
            <a:spLocks/>
          </p:cNvSpPr>
          <p:nvPr/>
        </p:nvSpPr>
        <p:spPr>
          <a:xfrm>
            <a:off x="7956055" y="4370389"/>
            <a:ext cx="1478918" cy="4572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defTabSz="914400">
              <a:spcBef>
                <a:spcPts val="1000"/>
              </a:spcBef>
              <a:buClr>
                <a:prstClr val="black"/>
              </a:buClr>
              <a:buSzPts val="800"/>
              <a:defRPr/>
            </a:pP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BOTTLE</a:t>
            </a:r>
            <a:b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</a:b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COLLECTION</a:t>
            </a:r>
            <a:b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</a:b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BIN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0E2CB5A-F343-79CC-F419-DF5022978CA0}"/>
              </a:ext>
            </a:extLst>
          </p:cNvPr>
          <p:cNvSpPr>
            <a:spLocks/>
          </p:cNvSpPr>
          <p:nvPr/>
        </p:nvSpPr>
        <p:spPr>
          <a:xfrm>
            <a:off x="5839986" y="4370389"/>
            <a:ext cx="1478918" cy="4572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defTabSz="914400">
              <a:spcBef>
                <a:spcPts val="1000"/>
              </a:spcBef>
              <a:buClr>
                <a:prstClr val="black"/>
              </a:buClr>
              <a:buSzPts val="800"/>
              <a:defRPr/>
            </a:pP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CAN </a:t>
            </a:r>
            <a:b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</a:b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COLLECTION</a:t>
            </a:r>
            <a:b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</a:b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BIN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09BB5B-A0E4-4F98-D8D1-393E416FADA4}"/>
              </a:ext>
            </a:extLst>
          </p:cNvPr>
          <p:cNvSpPr>
            <a:spLocks/>
          </p:cNvSpPr>
          <p:nvPr/>
        </p:nvSpPr>
        <p:spPr>
          <a:xfrm>
            <a:off x="3723915" y="4370389"/>
            <a:ext cx="1547162" cy="4572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8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2355A"/>
                </a:solidFill>
                <a:effectLst/>
                <a:uLnTx/>
                <a:uFillTx/>
                <a:latin typeface="+mj-lt"/>
                <a:ea typeface="+mn-ea"/>
                <a:cs typeface="+mn-cs"/>
                <a:sym typeface="Poppins SemiBold"/>
              </a:rPr>
              <a:t>DURABLE, REUSABLE EVENT RECYCLING BI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2355A"/>
              </a:solidFill>
              <a:effectLst/>
              <a:uLnTx/>
              <a:uFillTx/>
              <a:latin typeface="+mj-lt"/>
              <a:ea typeface="+mn-ea"/>
              <a:cs typeface="+mn-cs"/>
              <a:sym typeface="Poppins SemiBold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5817EFD-731C-ED90-F925-B41BF4AB7959}"/>
              </a:ext>
            </a:extLst>
          </p:cNvPr>
          <p:cNvSpPr>
            <a:spLocks/>
          </p:cNvSpPr>
          <p:nvPr/>
        </p:nvSpPr>
        <p:spPr>
          <a:xfrm>
            <a:off x="10072127" y="4370389"/>
            <a:ext cx="1478918" cy="4572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defTabSz="914400">
              <a:spcBef>
                <a:spcPts val="1000"/>
              </a:spcBef>
              <a:buClr>
                <a:prstClr val="black"/>
              </a:buClr>
              <a:buSzPts val="800"/>
              <a:defRPr/>
            </a:pP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96 </a:t>
            </a:r>
            <a:b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</a:b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GALLON</a:t>
            </a:r>
            <a:b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</a:br>
            <a:r>
              <a:rPr lang="en-US" sz="1600" b="1" dirty="0">
                <a:solidFill>
                  <a:srgbClr val="02355A"/>
                </a:solidFill>
                <a:latin typeface="+mj-lt"/>
                <a:sym typeface="Poppins SemiBold"/>
              </a:rPr>
              <a:t>TOTER</a:t>
            </a:r>
          </a:p>
        </p:txBody>
      </p:sp>
      <p:sp>
        <p:nvSpPr>
          <p:cNvPr id="36" name="Title 9">
            <a:extLst>
              <a:ext uri="{FF2B5EF4-FFF2-40B4-BE49-F238E27FC236}">
                <a16:creationId xmlns:a16="http://schemas.microsoft.com/office/drawing/2014/main" id="{A6248272-A1D5-5167-C770-29A451558984}"/>
              </a:ext>
            </a:extLst>
          </p:cNvPr>
          <p:cNvSpPr txBox="1">
            <a:spLocks/>
          </p:cNvSpPr>
          <p:nvPr/>
        </p:nvSpPr>
        <p:spPr>
          <a:xfrm>
            <a:off x="189646" y="530521"/>
            <a:ext cx="3187700" cy="4319365"/>
          </a:xfrm>
          <a:prstGeom prst="rect">
            <a:avLst/>
          </a:prstGeom>
        </p:spPr>
        <p:txBody>
          <a:bodyPr vert="horz" lIns="0" tIns="0" rIns="0" bIns="0" anchor="t"/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 spc="-2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20" normalizeH="0" baseline="0" noProof="0" dirty="0">
                <a:ln>
                  <a:noFill/>
                </a:ln>
                <a:solidFill>
                  <a:srgbClr val="02355A"/>
                </a:solidFill>
                <a:effectLst/>
                <a:uLnTx/>
                <a:uFillTx/>
                <a:ea typeface="+mj-ea"/>
                <a:cs typeface="+mj-cs"/>
              </a:rPr>
              <a:t>PEPSICO OFFERS RECYCLING BINS TO SUIT CUSTOMER NEED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EC7B0CA-9BF4-3E9F-9B54-3B9A4F85685B}"/>
              </a:ext>
            </a:extLst>
          </p:cNvPr>
          <p:cNvSpPr/>
          <p:nvPr/>
        </p:nvSpPr>
        <p:spPr>
          <a:xfrm flipH="1">
            <a:off x="3499188" y="1843310"/>
            <a:ext cx="45719" cy="4319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: Single Corner Rounded 69">
            <a:extLst>
              <a:ext uri="{FF2B5EF4-FFF2-40B4-BE49-F238E27FC236}">
                <a16:creationId xmlns:a16="http://schemas.microsoft.com/office/drawing/2014/main" id="{FBD99753-4D1B-2B74-B281-A95449D10A5B}"/>
              </a:ext>
            </a:extLst>
          </p:cNvPr>
          <p:cNvSpPr/>
          <p:nvPr/>
        </p:nvSpPr>
        <p:spPr>
          <a:xfrm flipH="1">
            <a:off x="7550150" y="1527712"/>
            <a:ext cx="4641848" cy="348712"/>
          </a:xfrm>
          <a:prstGeom prst="round1Rect">
            <a:avLst>
              <a:gd name="adj" fmla="val 29451"/>
            </a:avLst>
          </a:prstGeom>
          <a:solidFill>
            <a:srgbClr val="15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FC1151-4504-9AB1-BD84-31BD0EC3CDEC}"/>
              </a:ext>
            </a:extLst>
          </p:cNvPr>
          <p:cNvSpPr/>
          <p:nvPr/>
        </p:nvSpPr>
        <p:spPr>
          <a:xfrm>
            <a:off x="3305175" y="156258"/>
            <a:ext cx="8582025" cy="160525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  <a:sym typeface="Poppins SemiBold"/>
              </a:rPr>
              <a:t>Recycling bins are optimized for beverage container recycling with round disposal holes and come with labeling for various waste streams such as: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Calibri"/>
              <a:cs typeface="Calibri"/>
            </a:endParaRPr>
          </a:p>
          <a:p>
            <a:pPr marL="292100" marR="0" lvl="0" indent="-165100" defTabSz="914400" rtl="0" eaLnBrk="1" fontAlgn="auto" latinLnBrk="0" hangingPunct="1">
              <a:lnSpc>
                <a:spcPct val="100000"/>
              </a:lnSpc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Calibri"/>
              </a:rPr>
              <a:t>Bottles Only</a:t>
            </a:r>
          </a:p>
          <a:p>
            <a:pPr marL="292100" marR="0" lvl="0" indent="-165100" defTabSz="914400" rtl="0" eaLnBrk="1" fontAlgn="auto" latinLnBrk="0" hangingPunct="1">
              <a:lnSpc>
                <a:spcPct val="100000"/>
              </a:lnSpc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Calibri"/>
              </a:rPr>
              <a:t>Cans Only</a:t>
            </a:r>
          </a:p>
          <a:p>
            <a:pPr marL="292100" marR="0" lvl="0" indent="-165100" defTabSz="914400" rtl="0" eaLnBrk="1" fontAlgn="auto" latinLnBrk="0" hangingPunct="1">
              <a:lnSpc>
                <a:spcPct val="100000"/>
              </a:lnSpc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Calibri"/>
              </a:rPr>
              <a:t>Bottles &amp; Cans Only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Poppins SemiBold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  <a:sym typeface="Poppins SemiBold"/>
              </a:rPr>
              <a:t>Customization for some bins may be available upon request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B5EF418A-4EA1-5DDC-21BA-DBF66E0BE2E8}"/>
              </a:ext>
            </a:extLst>
          </p:cNvPr>
          <p:cNvSpPr/>
          <p:nvPr/>
        </p:nvSpPr>
        <p:spPr>
          <a:xfrm flipH="1">
            <a:off x="3723915" y="2438966"/>
            <a:ext cx="1952142" cy="1876427"/>
          </a:xfrm>
          <a:prstGeom prst="roundRect">
            <a:avLst>
              <a:gd name="adj" fmla="val 5302"/>
            </a:avLst>
          </a:prstGeom>
          <a:solidFill>
            <a:srgbClr val="A6CB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B655E107-A418-CCC5-6716-6A53EC3D922D}"/>
              </a:ext>
            </a:extLst>
          </p:cNvPr>
          <p:cNvSpPr/>
          <p:nvPr/>
        </p:nvSpPr>
        <p:spPr>
          <a:xfrm flipH="1">
            <a:off x="5839986" y="2438966"/>
            <a:ext cx="1952142" cy="1876427"/>
          </a:xfrm>
          <a:prstGeom prst="roundRect">
            <a:avLst>
              <a:gd name="adj" fmla="val 5302"/>
            </a:avLst>
          </a:prstGeom>
          <a:solidFill>
            <a:srgbClr val="A6CB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1A6E199F-635D-4CE1-CA9E-309B061DF559}"/>
              </a:ext>
            </a:extLst>
          </p:cNvPr>
          <p:cNvSpPr/>
          <p:nvPr/>
        </p:nvSpPr>
        <p:spPr>
          <a:xfrm flipH="1">
            <a:off x="7956055" y="2438966"/>
            <a:ext cx="1952142" cy="1876427"/>
          </a:xfrm>
          <a:prstGeom prst="roundRect">
            <a:avLst>
              <a:gd name="adj" fmla="val 5302"/>
            </a:avLst>
          </a:prstGeom>
          <a:solidFill>
            <a:srgbClr val="A6CB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3A2D3650-D8E7-E0BC-6429-975DAF58B85B}"/>
              </a:ext>
            </a:extLst>
          </p:cNvPr>
          <p:cNvSpPr/>
          <p:nvPr/>
        </p:nvSpPr>
        <p:spPr>
          <a:xfrm flipH="1">
            <a:off x="10072127" y="2438966"/>
            <a:ext cx="1952142" cy="1876427"/>
          </a:xfrm>
          <a:prstGeom prst="roundRect">
            <a:avLst>
              <a:gd name="adj" fmla="val 5302"/>
            </a:avLst>
          </a:prstGeom>
          <a:solidFill>
            <a:srgbClr val="A6CB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E8C8BA-7E35-B1B9-C6E2-C9C315D8DFE2}"/>
              </a:ext>
            </a:extLst>
          </p:cNvPr>
          <p:cNvSpPr txBox="1"/>
          <p:nvPr/>
        </p:nvSpPr>
        <p:spPr>
          <a:xfrm>
            <a:off x="5243440" y="3963619"/>
            <a:ext cx="437881" cy="437881"/>
          </a:xfrm>
          <a:prstGeom prst="ellipse">
            <a:avLst/>
          </a:prstGeom>
          <a:solidFill>
            <a:srgbClr val="FFFF00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PO</a:t>
            </a:r>
          </a:p>
        </p:txBody>
      </p:sp>
      <p:pic>
        <p:nvPicPr>
          <p:cNvPr id="89" name="Picture 88" descr="A blue trash can with a black background&#10;&#10;AI-generated content may be incorrect.">
            <a:extLst>
              <a:ext uri="{FF2B5EF4-FFF2-40B4-BE49-F238E27FC236}">
                <a16:creationId xmlns:a16="http://schemas.microsoft.com/office/drawing/2014/main" id="{7D71F49F-C1B6-4AE0-7506-4B39EE6A631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0909" r="8536"/>
          <a:stretch>
            <a:fillRect/>
          </a:stretch>
        </p:blipFill>
        <p:spPr>
          <a:xfrm>
            <a:off x="10161971" y="2129146"/>
            <a:ext cx="1772454" cy="2201780"/>
          </a:xfrm>
          <a:prstGeom prst="rect">
            <a:avLst/>
          </a:prstGeom>
        </p:spPr>
      </p:pic>
      <p:pic>
        <p:nvPicPr>
          <p:cNvPr id="91" name="Picture 90" descr="A black plastic bottle with blue and white label&#10;&#10;AI-generated content may be incorrect.">
            <a:extLst>
              <a:ext uri="{FF2B5EF4-FFF2-40B4-BE49-F238E27FC236}">
                <a16:creationId xmlns:a16="http://schemas.microsoft.com/office/drawing/2014/main" id="{3D47A45A-5F29-607A-5EA9-177950801B0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6118" r="26118"/>
          <a:stretch>
            <a:fillRect/>
          </a:stretch>
        </p:blipFill>
        <p:spPr>
          <a:xfrm>
            <a:off x="8362113" y="1862789"/>
            <a:ext cx="1140030" cy="2386811"/>
          </a:xfrm>
          <a:prstGeom prst="rect">
            <a:avLst/>
          </a:prstGeom>
        </p:spPr>
      </p:pic>
      <p:pic>
        <p:nvPicPr>
          <p:cNvPr id="93" name="Picture 92" descr="A blue and black recycle bin&#10;&#10;AI-generated content may be incorrect.">
            <a:extLst>
              <a:ext uri="{FF2B5EF4-FFF2-40B4-BE49-F238E27FC236}">
                <a16:creationId xmlns:a16="http://schemas.microsoft.com/office/drawing/2014/main" id="{7DE4AD49-84A1-A7EA-EA0E-F2620DCD077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7543" r="7543"/>
          <a:stretch>
            <a:fillRect/>
          </a:stretch>
        </p:blipFill>
        <p:spPr>
          <a:xfrm>
            <a:off x="3767138" y="2085772"/>
            <a:ext cx="1835926" cy="2163828"/>
          </a:xfrm>
          <a:prstGeom prst="rect">
            <a:avLst/>
          </a:prstGeom>
        </p:spPr>
      </p:pic>
      <p:pic>
        <p:nvPicPr>
          <p:cNvPr id="95" name="Picture 94" descr="A can of soda with a logo on it&#10;&#10;AI-generated content may be incorrect.">
            <a:extLst>
              <a:ext uri="{FF2B5EF4-FFF2-40B4-BE49-F238E27FC236}">
                <a16:creationId xmlns:a16="http://schemas.microsoft.com/office/drawing/2014/main" id="{025A301D-2C07-ECD5-CF61-4B930135EA4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25372" r="25372"/>
          <a:stretch>
            <a:fillRect/>
          </a:stretch>
        </p:blipFill>
        <p:spPr>
          <a:xfrm>
            <a:off x="6203806" y="1843310"/>
            <a:ext cx="1224502" cy="2487616"/>
          </a:xfrm>
          <a:prstGeom prst="rect">
            <a:avLst/>
          </a:prstGeom>
        </p:spPr>
      </p:pic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433B2FD3-09DB-29DF-36A8-FF149B686EA6}"/>
              </a:ext>
            </a:extLst>
          </p:cNvPr>
          <p:cNvCxnSpPr>
            <a:cxnSpLocks/>
          </p:cNvCxnSpPr>
          <p:nvPr/>
        </p:nvCxnSpPr>
        <p:spPr>
          <a:xfrm>
            <a:off x="5758021" y="5203248"/>
            <a:ext cx="0" cy="110324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27DCFD4A-B8E9-6E9F-688B-467FF0F5D031}"/>
              </a:ext>
            </a:extLst>
          </p:cNvPr>
          <p:cNvCxnSpPr>
            <a:cxnSpLocks/>
          </p:cNvCxnSpPr>
          <p:nvPr/>
        </p:nvCxnSpPr>
        <p:spPr>
          <a:xfrm>
            <a:off x="7874091" y="5203248"/>
            <a:ext cx="0" cy="110324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4839D840-4657-EFAF-800D-3FC197A0037C}"/>
              </a:ext>
            </a:extLst>
          </p:cNvPr>
          <p:cNvCxnSpPr>
            <a:cxnSpLocks/>
          </p:cNvCxnSpPr>
          <p:nvPr/>
        </p:nvCxnSpPr>
        <p:spPr>
          <a:xfrm>
            <a:off x="9990161" y="5203248"/>
            <a:ext cx="0" cy="110324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DC786683-2673-BA94-2F7C-646E0100071C}"/>
              </a:ext>
            </a:extLst>
          </p:cNvPr>
          <p:cNvSpPr>
            <a:spLocks/>
          </p:cNvSpPr>
          <p:nvPr/>
        </p:nvSpPr>
        <p:spPr>
          <a:xfrm>
            <a:off x="7956055" y="5279254"/>
            <a:ext cx="1866382" cy="95123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174625" indent="-174625" defTabSz="914400"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FFFFFF"/>
                </a:solidFill>
                <a:sym typeface="Poppins SemiBold"/>
              </a:rPr>
              <a:t>Indoor or</a:t>
            </a:r>
            <a:br>
              <a:rPr lang="en-US" sz="1300" dirty="0">
                <a:solidFill>
                  <a:srgbClr val="FFFFFF"/>
                </a:solidFill>
                <a:sym typeface="Poppins SemiBold"/>
              </a:rPr>
            </a:br>
            <a:r>
              <a:rPr lang="en-US" sz="1300" dirty="0">
                <a:solidFill>
                  <a:srgbClr val="FFFFFF"/>
                </a:solidFill>
                <a:sym typeface="Poppins SemiBold"/>
              </a:rPr>
              <a:t>Outdoor Use</a:t>
            </a:r>
          </a:p>
          <a:p>
            <a:pPr marL="174625" indent="-174625" defTabSz="914400"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FFFFFF"/>
                </a:solidFill>
                <a:sym typeface="Poppins SemiBold"/>
              </a:rPr>
              <a:t>Made of 100% recycled material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A804577-9768-04A8-337D-C614CE963F57}"/>
              </a:ext>
            </a:extLst>
          </p:cNvPr>
          <p:cNvSpPr>
            <a:spLocks/>
          </p:cNvSpPr>
          <p:nvPr/>
        </p:nvSpPr>
        <p:spPr>
          <a:xfrm>
            <a:off x="5839985" y="5279254"/>
            <a:ext cx="1866382" cy="95123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174625" indent="-174625" defTabSz="914400"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FFFFFF"/>
                </a:solidFill>
                <a:sym typeface="Poppins SemiBold"/>
              </a:rPr>
              <a:t>Indoor or</a:t>
            </a:r>
            <a:br>
              <a:rPr lang="en-US" sz="1300" dirty="0">
                <a:solidFill>
                  <a:srgbClr val="FFFFFF"/>
                </a:solidFill>
                <a:sym typeface="Poppins SemiBold"/>
              </a:rPr>
            </a:br>
            <a:r>
              <a:rPr lang="en-US" sz="1300" dirty="0">
                <a:solidFill>
                  <a:srgbClr val="FFFFFF"/>
                </a:solidFill>
                <a:sym typeface="Poppins SemiBold"/>
              </a:rPr>
              <a:t>Outdoor Use</a:t>
            </a:r>
          </a:p>
          <a:p>
            <a:pPr marL="174625" indent="-174625" defTabSz="914400"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FFFFFF"/>
                </a:solidFill>
                <a:sym typeface="Poppins SemiBold"/>
              </a:rPr>
              <a:t>Made of 100% recycled materi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B4313E7-B27E-39BD-F7F3-3E02D24BA172}"/>
              </a:ext>
            </a:extLst>
          </p:cNvPr>
          <p:cNvSpPr>
            <a:spLocks/>
          </p:cNvSpPr>
          <p:nvPr/>
        </p:nvSpPr>
        <p:spPr>
          <a:xfrm>
            <a:off x="3723915" y="5279254"/>
            <a:ext cx="1866382" cy="95123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  <a:sym typeface="Poppins SemiBold"/>
              </a:rPr>
              <a:t>Available upon request for special event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alibri"/>
              <a:cs typeface="Calibri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3596488-2EC7-A784-6EAF-78A9E22CD8A6}"/>
              </a:ext>
            </a:extLst>
          </p:cNvPr>
          <p:cNvSpPr>
            <a:spLocks/>
          </p:cNvSpPr>
          <p:nvPr/>
        </p:nvSpPr>
        <p:spPr>
          <a:xfrm>
            <a:off x="10072127" y="5279254"/>
            <a:ext cx="1952142" cy="95123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174625" indent="-174625" defTabSz="914400"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FFFFFF"/>
                </a:solidFill>
                <a:sym typeface="Poppins SemiBold"/>
              </a:rPr>
              <a:t>Best for</a:t>
            </a:r>
            <a:br>
              <a:rPr lang="en-US" sz="1300" dirty="0">
                <a:solidFill>
                  <a:srgbClr val="FFFFFF"/>
                </a:solidFill>
                <a:sym typeface="Poppins SemiBold"/>
              </a:rPr>
            </a:br>
            <a:r>
              <a:rPr lang="en-US" sz="1300" dirty="0">
                <a:solidFill>
                  <a:srgbClr val="FFFFFF"/>
                </a:solidFill>
                <a:sym typeface="Poppins SemiBold"/>
              </a:rPr>
              <a:t>Outdoor Use</a:t>
            </a:r>
          </a:p>
          <a:p>
            <a:pPr marL="174625" indent="-174625" defTabSz="914400"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FFFFFF"/>
                </a:solidFill>
                <a:sym typeface="Poppins SemiBold"/>
              </a:rPr>
              <a:t>Made of 100% recycled material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05DAEF-9FD2-0547-1E94-5E62B128B402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4</a:t>
            </a:fld>
            <a:endParaRPr lang="en-US" sz="13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143D7D43-5AAB-B7BD-F530-50D4DF0C657C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0213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A9137ED-8071-DF43-4F0A-76C6D541917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F440D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EFBEB3-F7D8-71A0-143B-DFE876E4269F}"/>
              </a:ext>
            </a:extLst>
          </p:cNvPr>
          <p:cNvSpPr/>
          <p:nvPr/>
        </p:nvSpPr>
        <p:spPr>
          <a:xfrm flipH="1">
            <a:off x="194156" y="106688"/>
            <a:ext cx="11257300" cy="66479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4800" b="1" dirty="0">
                <a:solidFill>
                  <a:srgbClr val="5E910D"/>
                </a:solidFill>
                <a:latin typeface="+mj-lt"/>
                <a:ea typeface="+mj-ea"/>
                <a:cs typeface="+mj-cs"/>
              </a:rPr>
              <a:t>COMMERCIAL SUSTAINABILITY CONTACTS</a:t>
            </a:r>
            <a:endParaRPr lang="en-US" sz="48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7124339-DE61-D36B-BAB4-154BD3EEE724}"/>
              </a:ext>
            </a:extLst>
          </p:cNvPr>
          <p:cNvGrpSpPr/>
          <p:nvPr/>
        </p:nvGrpSpPr>
        <p:grpSpPr>
          <a:xfrm>
            <a:off x="4664279" y="1015381"/>
            <a:ext cx="2889009" cy="3247745"/>
            <a:chOff x="5752253" y="286944"/>
            <a:chExt cx="2918988" cy="3281446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5268C5E-3134-D155-2B13-FB345B9594E3}"/>
                </a:ext>
              </a:extLst>
            </p:cNvPr>
            <p:cNvSpPr>
              <a:spLocks/>
            </p:cNvSpPr>
            <p:nvPr/>
          </p:nvSpPr>
          <p:spPr>
            <a:xfrm>
              <a:off x="5752253" y="286944"/>
              <a:ext cx="2918988" cy="3281446"/>
            </a:xfrm>
            <a:prstGeom prst="roundRect">
              <a:avLst>
                <a:gd name="adj" fmla="val 4422"/>
              </a:avLst>
            </a:prstGeom>
            <a:solidFill>
              <a:srgbClr val="5C8E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3" name="Picture 22" descr="A person smiling at camera&#10;&#10;AI-generated content may be incorrect.">
              <a:extLst>
                <a:ext uri="{FF2B5EF4-FFF2-40B4-BE49-F238E27FC236}">
                  <a16:creationId xmlns:a16="http://schemas.microsoft.com/office/drawing/2014/main" id="{102914C5-F381-1978-C424-BB93178B27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4547" t="3608" r="14547" b="23268"/>
            <a:stretch>
              <a:fillRect/>
            </a:stretch>
          </p:blipFill>
          <p:spPr>
            <a:xfrm>
              <a:off x="5752253" y="554571"/>
              <a:ext cx="2918988" cy="3013819"/>
            </a:xfrm>
            <a:custGeom>
              <a:avLst/>
              <a:gdLst>
                <a:gd name="connsiteX0" fmla="*/ 139385 w 3152090"/>
                <a:gd name="connsiteY0" fmla="*/ 0 h 4221842"/>
                <a:gd name="connsiteX1" fmla="*/ 3012705 w 3152090"/>
                <a:gd name="connsiteY1" fmla="*/ 0 h 4221842"/>
                <a:gd name="connsiteX2" fmla="*/ 3152090 w 3152090"/>
                <a:gd name="connsiteY2" fmla="*/ 139385 h 4221842"/>
                <a:gd name="connsiteX3" fmla="*/ 3152090 w 3152090"/>
                <a:gd name="connsiteY3" fmla="*/ 4082457 h 4221842"/>
                <a:gd name="connsiteX4" fmla="*/ 3012705 w 3152090"/>
                <a:gd name="connsiteY4" fmla="*/ 4221842 h 4221842"/>
                <a:gd name="connsiteX5" fmla="*/ 139385 w 3152090"/>
                <a:gd name="connsiteY5" fmla="*/ 4221842 h 4221842"/>
                <a:gd name="connsiteX6" fmla="*/ 0 w 3152090"/>
                <a:gd name="connsiteY6" fmla="*/ 4082457 h 4221842"/>
                <a:gd name="connsiteX7" fmla="*/ 0 w 3152090"/>
                <a:gd name="connsiteY7" fmla="*/ 139385 h 4221842"/>
                <a:gd name="connsiteX8" fmla="*/ 139385 w 3152090"/>
                <a:gd name="connsiteY8" fmla="*/ 0 h 4221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2090" h="4221842">
                  <a:moveTo>
                    <a:pt x="139385" y="0"/>
                  </a:moveTo>
                  <a:lnTo>
                    <a:pt x="3012705" y="0"/>
                  </a:lnTo>
                  <a:cubicBezTo>
                    <a:pt x="3089685" y="0"/>
                    <a:pt x="3152090" y="62405"/>
                    <a:pt x="3152090" y="139385"/>
                  </a:cubicBezTo>
                  <a:lnTo>
                    <a:pt x="3152090" y="4082457"/>
                  </a:lnTo>
                  <a:cubicBezTo>
                    <a:pt x="3152090" y="4159437"/>
                    <a:pt x="3089685" y="4221842"/>
                    <a:pt x="3012705" y="4221842"/>
                  </a:cubicBezTo>
                  <a:lnTo>
                    <a:pt x="139385" y="4221842"/>
                  </a:lnTo>
                  <a:cubicBezTo>
                    <a:pt x="62405" y="4221842"/>
                    <a:pt x="0" y="4159437"/>
                    <a:pt x="0" y="4082457"/>
                  </a:cubicBezTo>
                  <a:lnTo>
                    <a:pt x="0" y="139385"/>
                  </a:lnTo>
                  <a:cubicBezTo>
                    <a:pt x="0" y="62405"/>
                    <a:pt x="62405" y="0"/>
                    <a:pt x="139385" y="0"/>
                  </a:cubicBezTo>
                  <a:close/>
                </a:path>
              </a:pathLst>
            </a:custGeom>
            <a:noFill/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192B5B7-3AC4-5F06-515B-94F836A2E21C}"/>
              </a:ext>
            </a:extLst>
          </p:cNvPr>
          <p:cNvGrpSpPr/>
          <p:nvPr/>
        </p:nvGrpSpPr>
        <p:grpSpPr>
          <a:xfrm>
            <a:off x="8306751" y="1024509"/>
            <a:ext cx="2889009" cy="3247745"/>
            <a:chOff x="9044413" y="286944"/>
            <a:chExt cx="2918988" cy="3281446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6E0474B-E0DB-2599-8BA1-0D2B9E59430D}"/>
                </a:ext>
              </a:extLst>
            </p:cNvPr>
            <p:cNvSpPr>
              <a:spLocks/>
            </p:cNvSpPr>
            <p:nvPr/>
          </p:nvSpPr>
          <p:spPr>
            <a:xfrm>
              <a:off x="9044413" y="286944"/>
              <a:ext cx="2918988" cy="3281446"/>
            </a:xfrm>
            <a:prstGeom prst="roundRect">
              <a:avLst>
                <a:gd name="adj" fmla="val 4422"/>
              </a:avLst>
            </a:prstGeom>
            <a:solidFill>
              <a:srgbClr val="5C8E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CBB1507-7576-18F0-56EC-C9441517EE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-11480" b="1"/>
            <a:stretch>
              <a:fillRect/>
            </a:stretch>
          </p:blipFill>
          <p:spPr>
            <a:xfrm>
              <a:off x="9044413" y="286944"/>
              <a:ext cx="2914155" cy="3281446"/>
            </a:xfrm>
            <a:prstGeom prst="roundRect">
              <a:avLst>
                <a:gd name="adj" fmla="val 4029"/>
              </a:avLst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132437D-C968-CC06-B2C9-D2A81C1EA20B}"/>
              </a:ext>
            </a:extLst>
          </p:cNvPr>
          <p:cNvGrpSpPr/>
          <p:nvPr/>
        </p:nvGrpSpPr>
        <p:grpSpPr>
          <a:xfrm>
            <a:off x="4481495" y="4019232"/>
            <a:ext cx="3379434" cy="2294998"/>
            <a:chOff x="5322638" y="3925652"/>
            <a:chExt cx="3282709" cy="2294998"/>
          </a:xfrm>
        </p:grpSpPr>
        <p:sp>
          <p:nvSpPr>
            <p:cNvPr id="26" name="Graphic 15">
              <a:extLst>
                <a:ext uri="{FF2B5EF4-FFF2-40B4-BE49-F238E27FC236}">
                  <a16:creationId xmlns:a16="http://schemas.microsoft.com/office/drawing/2014/main" id="{C4A3E3D0-46EF-144B-AAB9-7B54CBA27343}"/>
                </a:ext>
              </a:extLst>
            </p:cNvPr>
            <p:cNvSpPr/>
            <p:nvPr/>
          </p:nvSpPr>
          <p:spPr>
            <a:xfrm>
              <a:off x="5322638" y="3925652"/>
              <a:ext cx="477938" cy="477938"/>
            </a:xfrm>
            <a:custGeom>
              <a:avLst/>
              <a:gdLst>
                <a:gd name="connsiteX0" fmla="*/ 1147763 w 1905000"/>
                <a:gd name="connsiteY0" fmla="*/ 0 h 1905000"/>
                <a:gd name="connsiteX1" fmla="*/ 1200150 w 1905000"/>
                <a:gd name="connsiteY1" fmla="*/ 52388 h 1905000"/>
                <a:gd name="connsiteX2" fmla="*/ 1200150 w 1905000"/>
                <a:gd name="connsiteY2" fmla="*/ 681038 h 1905000"/>
                <a:gd name="connsiteX3" fmla="*/ 1223963 w 1905000"/>
                <a:gd name="connsiteY3" fmla="*/ 704850 h 1905000"/>
                <a:gd name="connsiteX4" fmla="*/ 1852613 w 1905000"/>
                <a:gd name="connsiteY4" fmla="*/ 704850 h 1905000"/>
                <a:gd name="connsiteX5" fmla="*/ 1905000 w 1905000"/>
                <a:gd name="connsiteY5" fmla="*/ 757238 h 1905000"/>
                <a:gd name="connsiteX6" fmla="*/ 1905000 w 1905000"/>
                <a:gd name="connsiteY6" fmla="*/ 1147763 h 1905000"/>
                <a:gd name="connsiteX7" fmla="*/ 1852613 w 1905000"/>
                <a:gd name="connsiteY7" fmla="*/ 1200150 h 1905000"/>
                <a:gd name="connsiteX8" fmla="*/ 1223963 w 1905000"/>
                <a:gd name="connsiteY8" fmla="*/ 1200150 h 1905000"/>
                <a:gd name="connsiteX9" fmla="*/ 1200150 w 1905000"/>
                <a:gd name="connsiteY9" fmla="*/ 1223963 h 1905000"/>
                <a:gd name="connsiteX10" fmla="*/ 1200150 w 1905000"/>
                <a:gd name="connsiteY10" fmla="*/ 1852613 h 1905000"/>
                <a:gd name="connsiteX11" fmla="*/ 1147763 w 1905000"/>
                <a:gd name="connsiteY11" fmla="*/ 1905000 h 1905000"/>
                <a:gd name="connsiteX12" fmla="*/ 757238 w 1905000"/>
                <a:gd name="connsiteY12" fmla="*/ 1905000 h 1905000"/>
                <a:gd name="connsiteX13" fmla="*/ 704850 w 1905000"/>
                <a:gd name="connsiteY13" fmla="*/ 1852613 h 1905000"/>
                <a:gd name="connsiteX14" fmla="*/ 704850 w 1905000"/>
                <a:gd name="connsiteY14" fmla="*/ 1223963 h 1905000"/>
                <a:gd name="connsiteX15" fmla="*/ 681038 w 1905000"/>
                <a:gd name="connsiteY15" fmla="*/ 1200150 h 1905000"/>
                <a:gd name="connsiteX16" fmla="*/ 52388 w 1905000"/>
                <a:gd name="connsiteY16" fmla="*/ 1200150 h 1905000"/>
                <a:gd name="connsiteX17" fmla="*/ 0 w 1905000"/>
                <a:gd name="connsiteY17" fmla="*/ 1147763 h 1905000"/>
                <a:gd name="connsiteX18" fmla="*/ 0 w 1905000"/>
                <a:gd name="connsiteY18" fmla="*/ 757238 h 1905000"/>
                <a:gd name="connsiteX19" fmla="*/ 52388 w 1905000"/>
                <a:gd name="connsiteY19" fmla="*/ 704850 h 1905000"/>
                <a:gd name="connsiteX20" fmla="*/ 681038 w 1905000"/>
                <a:gd name="connsiteY20" fmla="*/ 704850 h 1905000"/>
                <a:gd name="connsiteX21" fmla="*/ 704850 w 1905000"/>
                <a:gd name="connsiteY21" fmla="*/ 681038 h 1905000"/>
                <a:gd name="connsiteX22" fmla="*/ 704850 w 1905000"/>
                <a:gd name="connsiteY22" fmla="*/ 52388 h 1905000"/>
                <a:gd name="connsiteX23" fmla="*/ 757238 w 1905000"/>
                <a:gd name="connsiteY23" fmla="*/ 0 h 1905000"/>
                <a:gd name="connsiteX24" fmla="*/ 1147763 w 1905000"/>
                <a:gd name="connsiteY2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05000" h="1905000">
                  <a:moveTo>
                    <a:pt x="1147763" y="0"/>
                  </a:moveTo>
                  <a:cubicBezTo>
                    <a:pt x="1176719" y="0"/>
                    <a:pt x="1200150" y="23432"/>
                    <a:pt x="1200150" y="52388"/>
                  </a:cubicBezTo>
                  <a:lnTo>
                    <a:pt x="1200150" y="681038"/>
                  </a:lnTo>
                  <a:cubicBezTo>
                    <a:pt x="1200150" y="694182"/>
                    <a:pt x="1210818" y="704850"/>
                    <a:pt x="1223963" y="704850"/>
                  </a:cubicBezTo>
                  <a:lnTo>
                    <a:pt x="1852613" y="704850"/>
                  </a:lnTo>
                  <a:cubicBezTo>
                    <a:pt x="1881568" y="704850"/>
                    <a:pt x="1905000" y="728282"/>
                    <a:pt x="1905000" y="757238"/>
                  </a:cubicBezTo>
                  <a:lnTo>
                    <a:pt x="1905000" y="1147763"/>
                  </a:lnTo>
                  <a:cubicBezTo>
                    <a:pt x="1905000" y="1176719"/>
                    <a:pt x="1881568" y="1200150"/>
                    <a:pt x="1852613" y="1200150"/>
                  </a:cubicBezTo>
                  <a:lnTo>
                    <a:pt x="1223963" y="1200150"/>
                  </a:lnTo>
                  <a:cubicBezTo>
                    <a:pt x="1210818" y="1200150"/>
                    <a:pt x="1200150" y="1210818"/>
                    <a:pt x="1200150" y="1223963"/>
                  </a:cubicBezTo>
                  <a:lnTo>
                    <a:pt x="1200150" y="1852613"/>
                  </a:lnTo>
                  <a:cubicBezTo>
                    <a:pt x="1200150" y="1881568"/>
                    <a:pt x="1176719" y="1905000"/>
                    <a:pt x="1147763" y="1905000"/>
                  </a:cubicBezTo>
                  <a:lnTo>
                    <a:pt x="757238" y="1905000"/>
                  </a:lnTo>
                  <a:cubicBezTo>
                    <a:pt x="728282" y="1905000"/>
                    <a:pt x="704850" y="1881568"/>
                    <a:pt x="704850" y="1852613"/>
                  </a:cubicBezTo>
                  <a:lnTo>
                    <a:pt x="704850" y="1223963"/>
                  </a:lnTo>
                  <a:cubicBezTo>
                    <a:pt x="704850" y="1210818"/>
                    <a:pt x="694182" y="1200150"/>
                    <a:pt x="681038" y="1200150"/>
                  </a:cubicBezTo>
                  <a:lnTo>
                    <a:pt x="52388" y="1200150"/>
                  </a:lnTo>
                  <a:cubicBezTo>
                    <a:pt x="23432" y="1200150"/>
                    <a:pt x="0" y="1176719"/>
                    <a:pt x="0" y="1147763"/>
                  </a:cubicBezTo>
                  <a:lnTo>
                    <a:pt x="0" y="757238"/>
                  </a:lnTo>
                  <a:cubicBezTo>
                    <a:pt x="0" y="728282"/>
                    <a:pt x="23432" y="704850"/>
                    <a:pt x="52388" y="704850"/>
                  </a:cubicBezTo>
                  <a:lnTo>
                    <a:pt x="681038" y="704850"/>
                  </a:lnTo>
                  <a:cubicBezTo>
                    <a:pt x="694182" y="704850"/>
                    <a:pt x="704850" y="694182"/>
                    <a:pt x="704850" y="681038"/>
                  </a:cubicBezTo>
                  <a:lnTo>
                    <a:pt x="704850" y="52388"/>
                  </a:lnTo>
                  <a:cubicBezTo>
                    <a:pt x="704850" y="23432"/>
                    <a:pt x="728282" y="0"/>
                    <a:pt x="757238" y="0"/>
                  </a:cubicBezTo>
                  <a:lnTo>
                    <a:pt x="1147763" y="0"/>
                  </a:lnTo>
                  <a:close/>
                </a:path>
              </a:pathLst>
            </a:custGeom>
            <a:solidFill>
              <a:srgbClr val="8BBB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61E9FDC-DA4F-4D81-9DAB-D91ED145598F}"/>
                </a:ext>
              </a:extLst>
            </p:cNvPr>
            <p:cNvSpPr txBox="1"/>
            <p:nvPr/>
          </p:nvSpPr>
          <p:spPr>
            <a:xfrm>
              <a:off x="5779838" y="4344752"/>
              <a:ext cx="2825509" cy="1875898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spAutoFit/>
            </a:bodyPr>
            <a:lstStyle/>
            <a:p>
              <a:pPr marR="0" lvl="0" defTabSz="914400" fontAlgn="auto">
                <a:lnSpc>
                  <a:spcPct val="8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tabLst/>
                <a:defRPr/>
              </a:pPr>
              <a:r>
                <a:rPr lang="en-US" sz="4400" dirty="0">
                  <a:solidFill>
                    <a:srgbClr val="8BBB28"/>
                  </a:solidFill>
                  <a:latin typeface="GT Pressura LCG Black" pitchFamily="2" charset="0"/>
                  <a:cs typeface="GT Pressura LCG Black" pitchFamily="2" charset="0"/>
                </a:rPr>
                <a:t>SHANNA PARRA</a:t>
              </a:r>
            </a:p>
            <a:p>
              <a:pPr marL="0" marR="0" lvl="0" indent="0" defTabSz="914400" rtl="0" eaLnBrk="1" fontAlgn="auto" latinLnBrk="0" hangingPunct="1"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j-ea"/>
                  <a:cs typeface="+mj-cs"/>
                </a:rPr>
                <a:t>Director Commercial </a:t>
              </a:r>
              <a:br>
                <a:rPr kumimoji="0" lang="en-US" sz="1600" b="1" i="0" u="none" strike="noStrike" kern="1200" cap="none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j-ea"/>
                  <a:cs typeface="+mj-cs"/>
                </a:rPr>
              </a:br>
              <a:r>
                <a:rPr kumimoji="0" lang="en-US" sz="1600" b="1" i="0" u="none" strike="noStrike" kern="1200" cap="none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j-ea"/>
                  <a:cs typeface="+mj-cs"/>
                </a:rPr>
                <a:t>Sustainability</a:t>
              </a:r>
            </a:p>
            <a:p>
              <a:pPr marL="0" marR="0" lvl="0" indent="0" defTabSz="914400" rtl="0" eaLnBrk="1" fontAlgn="auto" latinLnBrk="0" hangingPunct="1"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ea typeface="+mj-ea"/>
                  <a:cs typeface="+mj-c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anna.parra@pepsico.com</a:t>
              </a:r>
              <a:endParaRPr kumimoji="0" lang="en-US" sz="1200" b="1" i="0" u="none" strike="noStrike" kern="1200" cap="none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j-ea"/>
                <a:cs typeface="+mj-cs"/>
              </a:endParaRPr>
            </a:p>
          </p:txBody>
        </p:sp>
      </p:grpSp>
      <p:pic>
        <p:nvPicPr>
          <p:cNvPr id="34" name="Picture 33" descr="A logo with white text and colorful shapes&#10;&#10;AI-generated content may be incorrect.">
            <a:extLst>
              <a:ext uri="{FF2B5EF4-FFF2-40B4-BE49-F238E27FC236}">
                <a16:creationId xmlns:a16="http://schemas.microsoft.com/office/drawing/2014/main" id="{26DC90A2-4F7D-A2A9-E15C-29FF2D8AD8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35456" y="6267450"/>
            <a:ext cx="1016000" cy="571500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75D5A401-0CF1-BE49-8D02-2AE4569807ED}"/>
              </a:ext>
            </a:extLst>
          </p:cNvPr>
          <p:cNvGrpSpPr/>
          <p:nvPr/>
        </p:nvGrpSpPr>
        <p:grpSpPr>
          <a:xfrm>
            <a:off x="8126006" y="4019232"/>
            <a:ext cx="3282709" cy="2294998"/>
            <a:chOff x="8540991" y="3925652"/>
            <a:chExt cx="3282709" cy="2294998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CA166ED-E240-79AE-495D-690120BF28F7}"/>
                </a:ext>
              </a:extLst>
            </p:cNvPr>
            <p:cNvSpPr txBox="1"/>
            <p:nvPr/>
          </p:nvSpPr>
          <p:spPr>
            <a:xfrm>
              <a:off x="8998191" y="4344752"/>
              <a:ext cx="2825509" cy="1875898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spAutoFit/>
            </a:bodyPr>
            <a:lstStyle/>
            <a:p>
              <a:pPr marR="0" lvl="0" defTabSz="914400" fontAlgn="auto">
                <a:lnSpc>
                  <a:spcPct val="8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tabLst/>
                <a:defRPr/>
              </a:pPr>
              <a:r>
                <a:rPr lang="en-US" sz="4400" dirty="0">
                  <a:solidFill>
                    <a:srgbClr val="8BBB28"/>
                  </a:solidFill>
                  <a:latin typeface="GT Pressura LCG Black" pitchFamily="2" charset="0"/>
                  <a:cs typeface="GT Pressura LCG Black" pitchFamily="2" charset="0"/>
                </a:rPr>
                <a:t>CATHERINE WALTON</a:t>
              </a:r>
            </a:p>
            <a:p>
              <a:pPr marL="0" marR="0" lvl="0" indent="0" defTabSz="914400" rtl="0" eaLnBrk="1" fontAlgn="auto" latinLnBrk="0" hangingPunct="1"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j-ea"/>
                  <a:cs typeface="+mj-cs"/>
                </a:rPr>
                <a:t>Senior Manager </a:t>
              </a:r>
              <a:br>
                <a:rPr kumimoji="0" lang="en-US" sz="1600" b="1" i="0" u="none" strike="noStrike" kern="1200" cap="none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j-ea"/>
                  <a:cs typeface="+mj-cs"/>
                </a:rPr>
              </a:br>
              <a:r>
                <a:rPr kumimoji="0" lang="en-US" sz="1600" b="1" i="0" u="none" strike="noStrike" kern="1200" cap="none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j-ea"/>
                  <a:cs typeface="+mj-cs"/>
                </a:rPr>
                <a:t>Commercial Sustainability</a:t>
              </a:r>
            </a:p>
            <a:p>
              <a:pPr lvl="0" defTabSz="914400">
                <a:spcBef>
                  <a:spcPts val="200"/>
                </a:spcBef>
                <a:spcAft>
                  <a:spcPts val="200"/>
                </a:spcAft>
                <a:defRPr/>
              </a:pPr>
              <a:r>
                <a:rPr lang="en-US" sz="1200" b="1" dirty="0">
                  <a:solidFill>
                    <a:schemeClr val="accent4"/>
                  </a:solidFill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atherine.walton@pepsico.com</a:t>
              </a:r>
              <a:endParaRPr lang="en-US" sz="1200" b="1" dirty="0">
                <a:solidFill>
                  <a:schemeClr val="accent4"/>
                </a:solidFill>
              </a:endParaRPr>
            </a:p>
          </p:txBody>
        </p:sp>
        <p:sp>
          <p:nvSpPr>
            <p:cNvPr id="42" name="Graphic 15">
              <a:extLst>
                <a:ext uri="{FF2B5EF4-FFF2-40B4-BE49-F238E27FC236}">
                  <a16:creationId xmlns:a16="http://schemas.microsoft.com/office/drawing/2014/main" id="{3D4DFFB3-9F1E-95D6-CDBF-4149A6271B9E}"/>
                </a:ext>
              </a:extLst>
            </p:cNvPr>
            <p:cNvSpPr/>
            <p:nvPr/>
          </p:nvSpPr>
          <p:spPr>
            <a:xfrm>
              <a:off x="8540991" y="3925652"/>
              <a:ext cx="477938" cy="477938"/>
            </a:xfrm>
            <a:custGeom>
              <a:avLst/>
              <a:gdLst>
                <a:gd name="connsiteX0" fmla="*/ 1147763 w 1905000"/>
                <a:gd name="connsiteY0" fmla="*/ 0 h 1905000"/>
                <a:gd name="connsiteX1" fmla="*/ 1200150 w 1905000"/>
                <a:gd name="connsiteY1" fmla="*/ 52388 h 1905000"/>
                <a:gd name="connsiteX2" fmla="*/ 1200150 w 1905000"/>
                <a:gd name="connsiteY2" fmla="*/ 681038 h 1905000"/>
                <a:gd name="connsiteX3" fmla="*/ 1223963 w 1905000"/>
                <a:gd name="connsiteY3" fmla="*/ 704850 h 1905000"/>
                <a:gd name="connsiteX4" fmla="*/ 1852613 w 1905000"/>
                <a:gd name="connsiteY4" fmla="*/ 704850 h 1905000"/>
                <a:gd name="connsiteX5" fmla="*/ 1905000 w 1905000"/>
                <a:gd name="connsiteY5" fmla="*/ 757238 h 1905000"/>
                <a:gd name="connsiteX6" fmla="*/ 1905000 w 1905000"/>
                <a:gd name="connsiteY6" fmla="*/ 1147763 h 1905000"/>
                <a:gd name="connsiteX7" fmla="*/ 1852613 w 1905000"/>
                <a:gd name="connsiteY7" fmla="*/ 1200150 h 1905000"/>
                <a:gd name="connsiteX8" fmla="*/ 1223963 w 1905000"/>
                <a:gd name="connsiteY8" fmla="*/ 1200150 h 1905000"/>
                <a:gd name="connsiteX9" fmla="*/ 1200150 w 1905000"/>
                <a:gd name="connsiteY9" fmla="*/ 1223963 h 1905000"/>
                <a:gd name="connsiteX10" fmla="*/ 1200150 w 1905000"/>
                <a:gd name="connsiteY10" fmla="*/ 1852613 h 1905000"/>
                <a:gd name="connsiteX11" fmla="*/ 1147763 w 1905000"/>
                <a:gd name="connsiteY11" fmla="*/ 1905000 h 1905000"/>
                <a:gd name="connsiteX12" fmla="*/ 757238 w 1905000"/>
                <a:gd name="connsiteY12" fmla="*/ 1905000 h 1905000"/>
                <a:gd name="connsiteX13" fmla="*/ 704850 w 1905000"/>
                <a:gd name="connsiteY13" fmla="*/ 1852613 h 1905000"/>
                <a:gd name="connsiteX14" fmla="*/ 704850 w 1905000"/>
                <a:gd name="connsiteY14" fmla="*/ 1223963 h 1905000"/>
                <a:gd name="connsiteX15" fmla="*/ 681038 w 1905000"/>
                <a:gd name="connsiteY15" fmla="*/ 1200150 h 1905000"/>
                <a:gd name="connsiteX16" fmla="*/ 52388 w 1905000"/>
                <a:gd name="connsiteY16" fmla="*/ 1200150 h 1905000"/>
                <a:gd name="connsiteX17" fmla="*/ 0 w 1905000"/>
                <a:gd name="connsiteY17" fmla="*/ 1147763 h 1905000"/>
                <a:gd name="connsiteX18" fmla="*/ 0 w 1905000"/>
                <a:gd name="connsiteY18" fmla="*/ 757238 h 1905000"/>
                <a:gd name="connsiteX19" fmla="*/ 52388 w 1905000"/>
                <a:gd name="connsiteY19" fmla="*/ 704850 h 1905000"/>
                <a:gd name="connsiteX20" fmla="*/ 681038 w 1905000"/>
                <a:gd name="connsiteY20" fmla="*/ 704850 h 1905000"/>
                <a:gd name="connsiteX21" fmla="*/ 704850 w 1905000"/>
                <a:gd name="connsiteY21" fmla="*/ 681038 h 1905000"/>
                <a:gd name="connsiteX22" fmla="*/ 704850 w 1905000"/>
                <a:gd name="connsiteY22" fmla="*/ 52388 h 1905000"/>
                <a:gd name="connsiteX23" fmla="*/ 757238 w 1905000"/>
                <a:gd name="connsiteY23" fmla="*/ 0 h 1905000"/>
                <a:gd name="connsiteX24" fmla="*/ 1147763 w 1905000"/>
                <a:gd name="connsiteY2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05000" h="1905000">
                  <a:moveTo>
                    <a:pt x="1147763" y="0"/>
                  </a:moveTo>
                  <a:cubicBezTo>
                    <a:pt x="1176719" y="0"/>
                    <a:pt x="1200150" y="23432"/>
                    <a:pt x="1200150" y="52388"/>
                  </a:cubicBezTo>
                  <a:lnTo>
                    <a:pt x="1200150" y="681038"/>
                  </a:lnTo>
                  <a:cubicBezTo>
                    <a:pt x="1200150" y="694182"/>
                    <a:pt x="1210818" y="704850"/>
                    <a:pt x="1223963" y="704850"/>
                  </a:cubicBezTo>
                  <a:lnTo>
                    <a:pt x="1852613" y="704850"/>
                  </a:lnTo>
                  <a:cubicBezTo>
                    <a:pt x="1881568" y="704850"/>
                    <a:pt x="1905000" y="728282"/>
                    <a:pt x="1905000" y="757238"/>
                  </a:cubicBezTo>
                  <a:lnTo>
                    <a:pt x="1905000" y="1147763"/>
                  </a:lnTo>
                  <a:cubicBezTo>
                    <a:pt x="1905000" y="1176719"/>
                    <a:pt x="1881568" y="1200150"/>
                    <a:pt x="1852613" y="1200150"/>
                  </a:cubicBezTo>
                  <a:lnTo>
                    <a:pt x="1223963" y="1200150"/>
                  </a:lnTo>
                  <a:cubicBezTo>
                    <a:pt x="1210818" y="1200150"/>
                    <a:pt x="1200150" y="1210818"/>
                    <a:pt x="1200150" y="1223963"/>
                  </a:cubicBezTo>
                  <a:lnTo>
                    <a:pt x="1200150" y="1852613"/>
                  </a:lnTo>
                  <a:cubicBezTo>
                    <a:pt x="1200150" y="1881568"/>
                    <a:pt x="1176719" y="1905000"/>
                    <a:pt x="1147763" y="1905000"/>
                  </a:cubicBezTo>
                  <a:lnTo>
                    <a:pt x="757238" y="1905000"/>
                  </a:lnTo>
                  <a:cubicBezTo>
                    <a:pt x="728282" y="1905000"/>
                    <a:pt x="704850" y="1881568"/>
                    <a:pt x="704850" y="1852613"/>
                  </a:cubicBezTo>
                  <a:lnTo>
                    <a:pt x="704850" y="1223963"/>
                  </a:lnTo>
                  <a:cubicBezTo>
                    <a:pt x="704850" y="1210818"/>
                    <a:pt x="694182" y="1200150"/>
                    <a:pt x="681038" y="1200150"/>
                  </a:cubicBezTo>
                  <a:lnTo>
                    <a:pt x="52388" y="1200150"/>
                  </a:lnTo>
                  <a:cubicBezTo>
                    <a:pt x="23432" y="1200150"/>
                    <a:pt x="0" y="1176719"/>
                    <a:pt x="0" y="1147763"/>
                  </a:cubicBezTo>
                  <a:lnTo>
                    <a:pt x="0" y="757238"/>
                  </a:lnTo>
                  <a:cubicBezTo>
                    <a:pt x="0" y="728282"/>
                    <a:pt x="23432" y="704850"/>
                    <a:pt x="52388" y="704850"/>
                  </a:cubicBezTo>
                  <a:lnTo>
                    <a:pt x="681038" y="704850"/>
                  </a:lnTo>
                  <a:cubicBezTo>
                    <a:pt x="694182" y="704850"/>
                    <a:pt x="704850" y="694182"/>
                    <a:pt x="704850" y="681038"/>
                  </a:cubicBezTo>
                  <a:lnTo>
                    <a:pt x="704850" y="52388"/>
                  </a:lnTo>
                  <a:cubicBezTo>
                    <a:pt x="704850" y="23432"/>
                    <a:pt x="728282" y="0"/>
                    <a:pt x="757238" y="0"/>
                  </a:cubicBezTo>
                  <a:lnTo>
                    <a:pt x="1147763" y="0"/>
                  </a:lnTo>
                  <a:close/>
                </a:path>
              </a:pathLst>
            </a:custGeom>
            <a:solidFill>
              <a:srgbClr val="8BBB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26911E55-0E48-33DD-EAFA-5EB2E48DAD0D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4"/>
                </a:solidFill>
                <a:latin typeface="+mn-lt"/>
              </a:rPr>
              <a:pPr algn="r"/>
              <a:t>5</a:t>
            </a:fld>
            <a:endParaRPr lang="en-US" sz="135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89CE2CE-0011-0FA0-DE26-AE6999BCCC6D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7A4F82-5120-6F4F-6970-C4DC912F0AC1}"/>
              </a:ext>
            </a:extLst>
          </p:cNvPr>
          <p:cNvSpPr txBox="1"/>
          <p:nvPr/>
        </p:nvSpPr>
        <p:spPr>
          <a:xfrm>
            <a:off x="1357963" y="4446018"/>
            <a:ext cx="2825509" cy="183742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R="0" lvl="0" defTabSz="914400" fontAlgn="auto">
              <a:lnSpc>
                <a:spcPct val="80000"/>
              </a:lnSpc>
              <a:spcBef>
                <a:spcPts val="600"/>
              </a:spcBef>
              <a:buClrTx/>
              <a:buSzTx/>
              <a:tabLst/>
              <a:defRPr/>
            </a:pPr>
            <a:r>
              <a:rPr lang="en-US" sz="4400" dirty="0">
                <a:solidFill>
                  <a:srgbClr val="8BBB28"/>
                </a:solidFill>
                <a:latin typeface="GT Pressura LCG Black" pitchFamily="2" charset="0"/>
                <a:cs typeface="GT Pressura LCG Black" pitchFamily="2" charset="0"/>
              </a:rPr>
              <a:t>NICOLE POPOWSKI</a:t>
            </a:r>
          </a:p>
          <a:p>
            <a:pPr marL="0" marR="0" lvl="0" indent="0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Commercial </a:t>
            </a:r>
            <a:br>
              <a:rPr kumimoji="0" lang="en-US" sz="1600" b="1" i="0" u="none" strike="noStrike" kern="1200" cap="none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US" sz="1600" b="1" i="0" u="none" strike="noStrike" kern="1200" cap="none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Sustainability Manager</a:t>
            </a:r>
          </a:p>
          <a:p>
            <a:pPr lvl="0" defTabSz="9144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200" b="1" dirty="0">
                <a:solidFill>
                  <a:schemeClr val="accent4"/>
                </a:solidFill>
                <a:ea typeface="+mj-ea"/>
                <a:cs typeface="+mj-cs"/>
              </a:rPr>
              <a:t>Nicole.Popowski@pepsico.com</a:t>
            </a:r>
            <a:endParaRPr kumimoji="0" lang="en-US" sz="1200" b="1" i="0" u="none" strike="noStrike" kern="1200" cap="none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2179875-AE65-E6DC-54C4-4D3DC1AC608E}"/>
              </a:ext>
            </a:extLst>
          </p:cNvPr>
          <p:cNvSpPr>
            <a:spLocks/>
          </p:cNvSpPr>
          <p:nvPr/>
        </p:nvSpPr>
        <p:spPr>
          <a:xfrm>
            <a:off x="996242" y="1010455"/>
            <a:ext cx="2889009" cy="3247745"/>
          </a:xfrm>
          <a:prstGeom prst="roundRect">
            <a:avLst>
              <a:gd name="adj" fmla="val 4422"/>
            </a:avLst>
          </a:prstGeom>
          <a:solidFill>
            <a:srgbClr val="5C8E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3046D5-722F-3631-F1C5-646E758FDC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5332" r="3501" b="26665"/>
          <a:stretch>
            <a:fillRect/>
          </a:stretch>
        </p:blipFill>
        <p:spPr>
          <a:xfrm>
            <a:off x="977937" y="1377866"/>
            <a:ext cx="2889008" cy="2880334"/>
          </a:xfrm>
          <a:prstGeom prst="rect">
            <a:avLst/>
          </a:prstGeom>
        </p:spPr>
      </p:pic>
      <p:sp>
        <p:nvSpPr>
          <p:cNvPr id="8" name="Graphic 15">
            <a:extLst>
              <a:ext uri="{FF2B5EF4-FFF2-40B4-BE49-F238E27FC236}">
                <a16:creationId xmlns:a16="http://schemas.microsoft.com/office/drawing/2014/main" id="{2A39FC3C-08D2-0924-3FE9-EA8361AD3914}"/>
              </a:ext>
            </a:extLst>
          </p:cNvPr>
          <p:cNvSpPr/>
          <p:nvPr/>
        </p:nvSpPr>
        <p:spPr>
          <a:xfrm>
            <a:off x="783285" y="4019232"/>
            <a:ext cx="477938" cy="477938"/>
          </a:xfrm>
          <a:custGeom>
            <a:avLst/>
            <a:gdLst>
              <a:gd name="connsiteX0" fmla="*/ 1147763 w 1905000"/>
              <a:gd name="connsiteY0" fmla="*/ 0 h 1905000"/>
              <a:gd name="connsiteX1" fmla="*/ 1200150 w 1905000"/>
              <a:gd name="connsiteY1" fmla="*/ 52388 h 1905000"/>
              <a:gd name="connsiteX2" fmla="*/ 1200150 w 1905000"/>
              <a:gd name="connsiteY2" fmla="*/ 681038 h 1905000"/>
              <a:gd name="connsiteX3" fmla="*/ 1223963 w 1905000"/>
              <a:gd name="connsiteY3" fmla="*/ 704850 h 1905000"/>
              <a:gd name="connsiteX4" fmla="*/ 1852613 w 1905000"/>
              <a:gd name="connsiteY4" fmla="*/ 704850 h 1905000"/>
              <a:gd name="connsiteX5" fmla="*/ 1905000 w 1905000"/>
              <a:gd name="connsiteY5" fmla="*/ 757238 h 1905000"/>
              <a:gd name="connsiteX6" fmla="*/ 1905000 w 1905000"/>
              <a:gd name="connsiteY6" fmla="*/ 1147763 h 1905000"/>
              <a:gd name="connsiteX7" fmla="*/ 1852613 w 1905000"/>
              <a:gd name="connsiteY7" fmla="*/ 1200150 h 1905000"/>
              <a:gd name="connsiteX8" fmla="*/ 1223963 w 1905000"/>
              <a:gd name="connsiteY8" fmla="*/ 1200150 h 1905000"/>
              <a:gd name="connsiteX9" fmla="*/ 1200150 w 1905000"/>
              <a:gd name="connsiteY9" fmla="*/ 1223963 h 1905000"/>
              <a:gd name="connsiteX10" fmla="*/ 1200150 w 1905000"/>
              <a:gd name="connsiteY10" fmla="*/ 1852613 h 1905000"/>
              <a:gd name="connsiteX11" fmla="*/ 1147763 w 1905000"/>
              <a:gd name="connsiteY11" fmla="*/ 1905000 h 1905000"/>
              <a:gd name="connsiteX12" fmla="*/ 757238 w 1905000"/>
              <a:gd name="connsiteY12" fmla="*/ 1905000 h 1905000"/>
              <a:gd name="connsiteX13" fmla="*/ 704850 w 1905000"/>
              <a:gd name="connsiteY13" fmla="*/ 1852613 h 1905000"/>
              <a:gd name="connsiteX14" fmla="*/ 704850 w 1905000"/>
              <a:gd name="connsiteY14" fmla="*/ 1223963 h 1905000"/>
              <a:gd name="connsiteX15" fmla="*/ 681038 w 1905000"/>
              <a:gd name="connsiteY15" fmla="*/ 1200150 h 1905000"/>
              <a:gd name="connsiteX16" fmla="*/ 52388 w 1905000"/>
              <a:gd name="connsiteY16" fmla="*/ 1200150 h 1905000"/>
              <a:gd name="connsiteX17" fmla="*/ 0 w 1905000"/>
              <a:gd name="connsiteY17" fmla="*/ 1147763 h 1905000"/>
              <a:gd name="connsiteX18" fmla="*/ 0 w 1905000"/>
              <a:gd name="connsiteY18" fmla="*/ 757238 h 1905000"/>
              <a:gd name="connsiteX19" fmla="*/ 52388 w 1905000"/>
              <a:gd name="connsiteY19" fmla="*/ 704850 h 1905000"/>
              <a:gd name="connsiteX20" fmla="*/ 681038 w 1905000"/>
              <a:gd name="connsiteY20" fmla="*/ 704850 h 1905000"/>
              <a:gd name="connsiteX21" fmla="*/ 704850 w 1905000"/>
              <a:gd name="connsiteY21" fmla="*/ 681038 h 1905000"/>
              <a:gd name="connsiteX22" fmla="*/ 704850 w 1905000"/>
              <a:gd name="connsiteY22" fmla="*/ 52388 h 1905000"/>
              <a:gd name="connsiteX23" fmla="*/ 757238 w 1905000"/>
              <a:gd name="connsiteY23" fmla="*/ 0 h 1905000"/>
              <a:gd name="connsiteX24" fmla="*/ 1147763 w 1905000"/>
              <a:gd name="connsiteY24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05000" h="1905000">
                <a:moveTo>
                  <a:pt x="1147763" y="0"/>
                </a:moveTo>
                <a:cubicBezTo>
                  <a:pt x="1176719" y="0"/>
                  <a:pt x="1200150" y="23432"/>
                  <a:pt x="1200150" y="52388"/>
                </a:cubicBezTo>
                <a:lnTo>
                  <a:pt x="1200150" y="681038"/>
                </a:lnTo>
                <a:cubicBezTo>
                  <a:pt x="1200150" y="694182"/>
                  <a:pt x="1210818" y="704850"/>
                  <a:pt x="1223963" y="704850"/>
                </a:cubicBezTo>
                <a:lnTo>
                  <a:pt x="1852613" y="704850"/>
                </a:lnTo>
                <a:cubicBezTo>
                  <a:pt x="1881568" y="704850"/>
                  <a:pt x="1905000" y="728282"/>
                  <a:pt x="1905000" y="757238"/>
                </a:cubicBezTo>
                <a:lnTo>
                  <a:pt x="1905000" y="1147763"/>
                </a:lnTo>
                <a:cubicBezTo>
                  <a:pt x="1905000" y="1176719"/>
                  <a:pt x="1881568" y="1200150"/>
                  <a:pt x="1852613" y="1200150"/>
                </a:cubicBezTo>
                <a:lnTo>
                  <a:pt x="1223963" y="1200150"/>
                </a:lnTo>
                <a:cubicBezTo>
                  <a:pt x="1210818" y="1200150"/>
                  <a:pt x="1200150" y="1210818"/>
                  <a:pt x="1200150" y="1223963"/>
                </a:cubicBezTo>
                <a:lnTo>
                  <a:pt x="1200150" y="1852613"/>
                </a:lnTo>
                <a:cubicBezTo>
                  <a:pt x="1200150" y="1881568"/>
                  <a:pt x="1176719" y="1905000"/>
                  <a:pt x="1147763" y="1905000"/>
                </a:cubicBezTo>
                <a:lnTo>
                  <a:pt x="757238" y="1905000"/>
                </a:lnTo>
                <a:cubicBezTo>
                  <a:pt x="728282" y="1905000"/>
                  <a:pt x="704850" y="1881568"/>
                  <a:pt x="704850" y="1852613"/>
                </a:cubicBezTo>
                <a:lnTo>
                  <a:pt x="704850" y="1223963"/>
                </a:lnTo>
                <a:cubicBezTo>
                  <a:pt x="704850" y="1210818"/>
                  <a:pt x="694182" y="1200150"/>
                  <a:pt x="681038" y="1200150"/>
                </a:cubicBezTo>
                <a:lnTo>
                  <a:pt x="52388" y="1200150"/>
                </a:lnTo>
                <a:cubicBezTo>
                  <a:pt x="23432" y="1200150"/>
                  <a:pt x="0" y="1176719"/>
                  <a:pt x="0" y="1147763"/>
                </a:cubicBezTo>
                <a:lnTo>
                  <a:pt x="0" y="757238"/>
                </a:lnTo>
                <a:cubicBezTo>
                  <a:pt x="0" y="728282"/>
                  <a:pt x="23432" y="704850"/>
                  <a:pt x="52388" y="704850"/>
                </a:cubicBezTo>
                <a:lnTo>
                  <a:pt x="681038" y="704850"/>
                </a:lnTo>
                <a:cubicBezTo>
                  <a:pt x="694182" y="704850"/>
                  <a:pt x="704850" y="694182"/>
                  <a:pt x="704850" y="681038"/>
                </a:cubicBezTo>
                <a:lnTo>
                  <a:pt x="704850" y="52388"/>
                </a:lnTo>
                <a:cubicBezTo>
                  <a:pt x="704850" y="23432"/>
                  <a:pt x="728282" y="0"/>
                  <a:pt x="757238" y="0"/>
                </a:cubicBezTo>
                <a:lnTo>
                  <a:pt x="1147763" y="0"/>
                </a:lnTo>
                <a:close/>
              </a:path>
            </a:pathLst>
          </a:custGeom>
          <a:solidFill>
            <a:srgbClr val="8BBB2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092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2.xml><?xml version="1.0" encoding="utf-8"?>
<a:theme xmlns:a="http://schemas.openxmlformats.org/drawingml/2006/main" name="1_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1366E4F15C84B88D51EE8B82FAF3A" ma:contentTypeVersion="8" ma:contentTypeDescription="Create a new document." ma:contentTypeScope="" ma:versionID="d8cb57e74b09bcdd78e07051bec0a5c6">
  <xsd:schema xmlns:xsd="http://www.w3.org/2001/XMLSchema" xmlns:xs="http://www.w3.org/2001/XMLSchema" xmlns:p="http://schemas.microsoft.com/office/2006/metadata/properties" xmlns:ns2="338c5a62-c766-4c1d-9499-6cfda948df69" targetNamespace="http://schemas.microsoft.com/office/2006/metadata/properties" ma:root="true" ma:fieldsID="a2cbb82d2c58359c3be0baba583c7cc1" ns2:_="">
    <xsd:import namespace="338c5a62-c766-4c1d-9499-6cfda948df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c5a62-c766-4c1d-9499-6cfda948df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C66A18F-5D2A-4799-9F8F-90793222BC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F6EAC5-4886-4A33-9983-B19FE5107E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8c5a62-c766-4c1d-9499-6cfda948df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ADD4A1F-2AFD-42A8-A959-40AF59A2239D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7b1e4d0a-2ac3-47a8-86da-de6d4f972a03"/>
    <ds:schemaRef ds:uri="http://purl.org/dc/dcmitype/"/>
    <ds:schemaRef ds:uri="http://schemas.openxmlformats.org/package/2006/metadata/core-properties"/>
    <ds:schemaRef ds:uri="http://schemas.microsoft.com/sharepoint/v3"/>
    <ds:schemaRef ds:uri="d7077447-3598-4916-b6b1-69ae6445436e"/>
    <ds:schemaRef ds:uri="http://www.w3.org/XML/1998/namespace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69</TotalTime>
  <Words>417</Words>
  <Application>Microsoft Office PowerPoint</Application>
  <PresentationFormat>Widescreen</PresentationFormat>
  <Paragraphs>74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5-Commercial-Sustainability-Toolkit-Recycling-Bins</dc:title>
  <dc:creator>Walton, Catherine {PEP}</dc:creator>
  <cp:lastModifiedBy>DIAZ DE LEON, LISSA {PEP}</cp:lastModifiedBy>
  <cp:revision>18</cp:revision>
  <dcterms:created xsi:type="dcterms:W3CDTF">2025-10-17T20:50:14Z</dcterms:created>
  <dcterms:modified xsi:type="dcterms:W3CDTF">2026-01-28T16:1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61366E4F15C84B88D51EE8B82FAF3A</vt:lpwstr>
  </property>
  <property fmtid="{D5CDD505-2E9C-101B-9397-08002B2CF9AE}" pid="3" name="_dlc_DocIdItemGuid">
    <vt:lpwstr>94652c8f-abd2-4216-8204-586f60d023cc</vt:lpwstr>
  </property>
  <property fmtid="{D5CDD505-2E9C-101B-9397-08002B2CF9AE}" pid="4" name="Access">
    <vt:lpwstr/>
  </property>
  <property fmtid="{D5CDD505-2E9C-101B-9397-08002B2CF9AE}" pid="5" name="MediaServiceImageTags">
    <vt:lpwstr/>
  </property>
  <property fmtid="{D5CDD505-2E9C-101B-9397-08002B2CF9AE}" pid="6" name="_dlc_policyId">
    <vt:lpwstr>0x01010007726CE5BAA9244C9987C4B2E450BFFD|-369733750</vt:lpwstr>
  </property>
  <property fmtid="{D5CDD505-2E9C-101B-9397-08002B2CF9AE}" pid="7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